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2" r:id="rId2"/>
  </p:sldMasterIdLst>
  <p:notesMasterIdLst>
    <p:notesMasterId r:id="rId26"/>
  </p:notesMasterIdLst>
  <p:handoutMasterIdLst>
    <p:handoutMasterId r:id="rId27"/>
  </p:handoutMasterIdLst>
  <p:sldIdLst>
    <p:sldId id="3299" r:id="rId3"/>
    <p:sldId id="3578" r:id="rId4"/>
    <p:sldId id="3645" r:id="rId5"/>
    <p:sldId id="259" r:id="rId6"/>
    <p:sldId id="3646" r:id="rId7"/>
    <p:sldId id="3647" r:id="rId8"/>
    <p:sldId id="3649" r:id="rId9"/>
    <p:sldId id="3650" r:id="rId10"/>
    <p:sldId id="3651" r:id="rId11"/>
    <p:sldId id="3654" r:id="rId12"/>
    <p:sldId id="3652" r:id="rId13"/>
    <p:sldId id="3655" r:id="rId14"/>
    <p:sldId id="3658" r:id="rId15"/>
    <p:sldId id="3656" r:id="rId16"/>
    <p:sldId id="3657" r:id="rId17"/>
    <p:sldId id="3659" r:id="rId18"/>
    <p:sldId id="3663" r:id="rId19"/>
    <p:sldId id="3662" r:id="rId20"/>
    <p:sldId id="3660" r:id="rId21"/>
    <p:sldId id="3661" r:id="rId22"/>
    <p:sldId id="3664" r:id="rId23"/>
    <p:sldId id="3665" r:id="rId24"/>
    <p:sldId id="3666" r:id="rId25"/>
  </p:sldIdLst>
  <p:sldSz cx="19648488" cy="11052175"/>
  <p:notesSz cx="6797675" cy="9928225"/>
  <p:custDataLst>
    <p:tags r:id="rId28"/>
  </p:custDataLst>
  <p:defaultTextStyle>
    <a:defPPr>
      <a:defRPr lang="en-US"/>
    </a:defPPr>
    <a:lvl1pPr marL="0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1pPr>
    <a:lvl2pPr marL="496016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2pPr>
    <a:lvl3pPr marL="992033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3pPr>
    <a:lvl4pPr marL="1488049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4pPr>
    <a:lvl5pPr marL="1984065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5pPr>
    <a:lvl6pPr marL="2480081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6pPr>
    <a:lvl7pPr marL="2976098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7pPr>
    <a:lvl8pPr marL="3472114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8pPr>
    <a:lvl9pPr marL="3968130" algn="l" defTabSz="992033" rtl="0" eaLnBrk="1" latinLnBrk="0" hangingPunct="1">
      <a:defRPr sz="19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454" userDrawn="1">
          <p15:clr>
            <a:srgbClr val="A4A3A4"/>
          </p15:clr>
        </p15:guide>
        <p15:guide id="2" pos="3807" userDrawn="1">
          <p15:clr>
            <a:srgbClr val="A4A3A4"/>
          </p15:clr>
        </p15:guide>
        <p15:guide id="3" pos="7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" lastIdx="1" clrIdx="0">
    <p:extLst>
      <p:ext uri="{19B8F6BF-5375-455C-9EA6-DF929625EA0E}">
        <p15:presenceInfo xmlns:p15="http://schemas.microsoft.com/office/powerpoint/2012/main" userId="bbc6b64f16f1d24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CACA"/>
    <a:srgbClr val="F6F6F6"/>
    <a:srgbClr val="CCFFCC"/>
    <a:srgbClr val="CCCCFF"/>
    <a:srgbClr val="EAEAEA"/>
    <a:srgbClr val="FFD8DB"/>
    <a:srgbClr val="F38C95"/>
    <a:srgbClr val="FFBABF"/>
    <a:srgbClr val="003D4C"/>
    <a:srgbClr val="777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80" autoAdjust="0"/>
    <p:restoredTop sz="93325" autoAdjust="0"/>
  </p:normalViewPr>
  <p:slideViewPr>
    <p:cSldViewPr snapToGrid="0" snapToObjects="1">
      <p:cViewPr>
        <p:scale>
          <a:sx n="100" d="100"/>
          <a:sy n="100" d="100"/>
        </p:scale>
        <p:origin x="174" y="72"/>
      </p:cViewPr>
      <p:guideLst>
        <p:guide orient="horz" pos="5454"/>
        <p:guide pos="3807"/>
        <p:guide pos="745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-16508"/>
    </p:cViewPr>
  </p:sorterViewPr>
  <p:notesViewPr>
    <p:cSldViewPr snapToGrid="0" snapToObjects="1">
      <p:cViewPr varScale="1">
        <p:scale>
          <a:sx n="46" d="100"/>
          <a:sy n="46" d="100"/>
        </p:scale>
        <p:origin x="2736" y="3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 КВАРТАЛ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8</c:f>
              <c:strCache>
                <c:ptCount val="7"/>
                <c:pt idx="0">
                  <c:v>RBC</c:v>
                </c:pt>
                <c:pt idx="1">
                  <c:v>IMHO</c:v>
                </c:pt>
                <c:pt idx="2">
                  <c:v>YANDEX</c:v>
                </c:pt>
                <c:pt idx="3">
                  <c:v>RAMBLER</c:v>
                </c:pt>
                <c:pt idx="4">
                  <c:v>MAIL</c:v>
                </c:pt>
                <c:pt idx="5">
                  <c:v>SEGMENTO</c:v>
                </c:pt>
                <c:pt idx="6">
                  <c:v>LOO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1</c:v>
                </c:pt>
                <c:pt idx="1">
                  <c:v>0.15</c:v>
                </c:pt>
                <c:pt idx="2">
                  <c:v>0.05</c:v>
                </c:pt>
                <c:pt idx="3">
                  <c:v>0.05</c:v>
                </c:pt>
                <c:pt idx="4">
                  <c:v>0</c:v>
                </c:pt>
                <c:pt idx="5">
                  <c:v>0.03</c:v>
                </c:pt>
                <c:pt idx="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86-4A77-96F7-8307284F02A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 КВАРТАЛ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8</c:f>
              <c:strCache>
                <c:ptCount val="7"/>
                <c:pt idx="0">
                  <c:v>RBC</c:v>
                </c:pt>
                <c:pt idx="1">
                  <c:v>IMHO</c:v>
                </c:pt>
                <c:pt idx="2">
                  <c:v>YANDEX</c:v>
                </c:pt>
                <c:pt idx="3">
                  <c:v>RAMBLER</c:v>
                </c:pt>
                <c:pt idx="4">
                  <c:v>MAIL</c:v>
                </c:pt>
                <c:pt idx="5">
                  <c:v>SEGMENTO</c:v>
                </c:pt>
                <c:pt idx="6">
                  <c:v>LOO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15</c:v>
                </c:pt>
                <c:pt idx="1">
                  <c:v>0.25</c:v>
                </c:pt>
                <c:pt idx="2">
                  <c:v>0.26</c:v>
                </c:pt>
                <c:pt idx="3">
                  <c:v>0.26</c:v>
                </c:pt>
                <c:pt idx="4">
                  <c:v>0</c:v>
                </c:pt>
                <c:pt idx="5">
                  <c:v>0.26</c:v>
                </c:pt>
                <c:pt idx="6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86-4A77-96F7-8307284F02A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 КВАРТАЛ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8</c:f>
              <c:strCache>
                <c:ptCount val="7"/>
                <c:pt idx="0">
                  <c:v>RBC</c:v>
                </c:pt>
                <c:pt idx="1">
                  <c:v>IMHO</c:v>
                </c:pt>
                <c:pt idx="2">
                  <c:v>YANDEX</c:v>
                </c:pt>
                <c:pt idx="3">
                  <c:v>RAMBLER</c:v>
                </c:pt>
                <c:pt idx="4">
                  <c:v>MAIL</c:v>
                </c:pt>
                <c:pt idx="5">
                  <c:v>SEGMENTO</c:v>
                </c:pt>
                <c:pt idx="6">
                  <c:v>LOO</c:v>
                </c:pt>
              </c:strCache>
            </c:strRef>
          </c:cat>
          <c:val>
            <c:numRef>
              <c:f>Лист1!$D$2:$D$8</c:f>
              <c:numCache>
                <c:formatCode>0%</c:formatCode>
                <c:ptCount val="7"/>
                <c:pt idx="0">
                  <c:v>0.5</c:v>
                </c:pt>
                <c:pt idx="1">
                  <c:v>0.51</c:v>
                </c:pt>
                <c:pt idx="2">
                  <c:v>0.26</c:v>
                </c:pt>
                <c:pt idx="3">
                  <c:v>0.26</c:v>
                </c:pt>
                <c:pt idx="4">
                  <c:v>0.5</c:v>
                </c:pt>
                <c:pt idx="5">
                  <c:v>0.26</c:v>
                </c:pt>
                <c:pt idx="6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86-4A77-96F7-8307284F02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73263136"/>
        <c:axId val="273266272"/>
        <c:axId val="0"/>
      </c:bar3DChart>
      <c:catAx>
        <c:axId val="273263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73266272"/>
        <c:crosses val="autoZero"/>
        <c:auto val="1"/>
        <c:lblAlgn val="ctr"/>
        <c:lblOffset val="100"/>
        <c:noMultiLvlLbl val="0"/>
      </c:catAx>
      <c:valAx>
        <c:axId val="273266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73263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3">
  <dgm:title val=""/>
  <dgm:desc val=""/>
  <dgm:catLst>
    <dgm:cat type="accent4" pri="11300"/>
  </dgm:catLst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DAEEE8-2348-48B0-9378-B3FAE79C3654}" type="doc">
      <dgm:prSet loTypeId="urn:microsoft.com/office/officeart/2005/8/layout/arrow5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2538187D-CAB0-47F9-8240-5D829BA7AB76}">
      <dgm:prSet phldrT="[Текст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ru-RU" dirty="0"/>
            <a:t>БРИФ</a:t>
          </a:r>
        </a:p>
      </dgm:t>
    </dgm:pt>
    <dgm:pt modelId="{D189ED70-9D05-4D1F-AB08-926B68AA5784}" type="parTrans" cxnId="{5FF7FD58-4E0D-44A5-8853-68E144F58820}">
      <dgm:prSet/>
      <dgm:spPr/>
      <dgm:t>
        <a:bodyPr/>
        <a:lstStyle/>
        <a:p>
          <a:endParaRPr lang="ru-RU"/>
        </a:p>
      </dgm:t>
    </dgm:pt>
    <dgm:pt modelId="{A6A4C6F2-4C65-49B3-8346-A1F2E2F7FE7E}" type="sibTrans" cxnId="{5FF7FD58-4E0D-44A5-8853-68E144F58820}">
      <dgm:prSet/>
      <dgm:spPr/>
      <dgm:t>
        <a:bodyPr/>
        <a:lstStyle/>
        <a:p>
          <a:endParaRPr lang="ru-RU"/>
        </a:p>
      </dgm:t>
    </dgm:pt>
    <dgm:pt modelId="{E787FD4E-B830-40E8-93CA-7799725A3154}">
      <dgm:prSet phldrT="[Текст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ru-RU" dirty="0"/>
            <a:t>УСЛОВИЯ СЕЛЛЕРОВ</a:t>
          </a:r>
        </a:p>
      </dgm:t>
    </dgm:pt>
    <dgm:pt modelId="{B3254D3E-D43A-4B34-8740-185B22FBBCD0}" type="parTrans" cxnId="{C1E41FB5-6915-4932-AD11-FCEAEE9632E6}">
      <dgm:prSet/>
      <dgm:spPr/>
      <dgm:t>
        <a:bodyPr/>
        <a:lstStyle/>
        <a:p>
          <a:endParaRPr lang="ru-RU"/>
        </a:p>
      </dgm:t>
    </dgm:pt>
    <dgm:pt modelId="{88D41910-4E3D-4060-97D8-15CA21CE97B5}" type="sibTrans" cxnId="{C1E41FB5-6915-4932-AD11-FCEAEE9632E6}">
      <dgm:prSet/>
      <dgm:spPr/>
      <dgm:t>
        <a:bodyPr/>
        <a:lstStyle/>
        <a:p>
          <a:endParaRPr lang="ru-RU"/>
        </a:p>
      </dgm:t>
    </dgm:pt>
    <dgm:pt modelId="{3AB3AB8B-3EAF-4D29-BE04-1342E15F8D1E}" type="pres">
      <dgm:prSet presAssocID="{C7DAEEE8-2348-48B0-9378-B3FAE79C3654}" presName="diagram" presStyleCnt="0">
        <dgm:presLayoutVars>
          <dgm:dir/>
          <dgm:resizeHandles val="exact"/>
        </dgm:presLayoutVars>
      </dgm:prSet>
      <dgm:spPr/>
    </dgm:pt>
    <dgm:pt modelId="{B65183EB-9414-40EB-BB23-BCBE83E06E9F}" type="pres">
      <dgm:prSet presAssocID="{2538187D-CAB0-47F9-8240-5D829BA7AB76}" presName="arrow" presStyleLbl="node1" presStyleIdx="0" presStyleCnt="2">
        <dgm:presLayoutVars>
          <dgm:bulletEnabled val="1"/>
        </dgm:presLayoutVars>
      </dgm:prSet>
      <dgm:spPr/>
    </dgm:pt>
    <dgm:pt modelId="{AADE95F5-2C9C-4B50-BC12-E239BCF7EDF9}" type="pres">
      <dgm:prSet presAssocID="{E787FD4E-B830-40E8-93CA-7799725A3154}" presName="arrow" presStyleLbl="node1" presStyleIdx="1" presStyleCnt="2">
        <dgm:presLayoutVars>
          <dgm:bulletEnabled val="1"/>
        </dgm:presLayoutVars>
      </dgm:prSet>
      <dgm:spPr/>
    </dgm:pt>
  </dgm:ptLst>
  <dgm:cxnLst>
    <dgm:cxn modelId="{49B65107-BD27-45FE-AB77-274C1EB7E4E3}" type="presOf" srcId="{C7DAEEE8-2348-48B0-9378-B3FAE79C3654}" destId="{3AB3AB8B-3EAF-4D29-BE04-1342E15F8D1E}" srcOrd="0" destOrd="0" presId="urn:microsoft.com/office/officeart/2005/8/layout/arrow5"/>
    <dgm:cxn modelId="{5FF7FD58-4E0D-44A5-8853-68E144F58820}" srcId="{C7DAEEE8-2348-48B0-9378-B3FAE79C3654}" destId="{2538187D-CAB0-47F9-8240-5D829BA7AB76}" srcOrd="0" destOrd="0" parTransId="{D189ED70-9D05-4D1F-AB08-926B68AA5784}" sibTransId="{A6A4C6F2-4C65-49B3-8346-A1F2E2F7FE7E}"/>
    <dgm:cxn modelId="{287F52A5-2C38-410D-AFED-9A1236CEA0BE}" type="presOf" srcId="{E787FD4E-B830-40E8-93CA-7799725A3154}" destId="{AADE95F5-2C9C-4B50-BC12-E239BCF7EDF9}" srcOrd="0" destOrd="0" presId="urn:microsoft.com/office/officeart/2005/8/layout/arrow5"/>
    <dgm:cxn modelId="{C1E41FB5-6915-4932-AD11-FCEAEE9632E6}" srcId="{C7DAEEE8-2348-48B0-9378-B3FAE79C3654}" destId="{E787FD4E-B830-40E8-93CA-7799725A3154}" srcOrd="1" destOrd="0" parTransId="{B3254D3E-D43A-4B34-8740-185B22FBBCD0}" sibTransId="{88D41910-4E3D-4060-97D8-15CA21CE97B5}"/>
    <dgm:cxn modelId="{BA3B6CC8-AE7E-48A0-A52E-1C7F77B506EE}" type="presOf" srcId="{2538187D-CAB0-47F9-8240-5D829BA7AB76}" destId="{B65183EB-9414-40EB-BB23-BCBE83E06E9F}" srcOrd="0" destOrd="0" presId="urn:microsoft.com/office/officeart/2005/8/layout/arrow5"/>
    <dgm:cxn modelId="{5F668C58-E434-4FC3-8050-B0450C6DFF5C}" type="presParOf" srcId="{3AB3AB8B-3EAF-4D29-BE04-1342E15F8D1E}" destId="{B65183EB-9414-40EB-BB23-BCBE83E06E9F}" srcOrd="0" destOrd="0" presId="urn:microsoft.com/office/officeart/2005/8/layout/arrow5"/>
    <dgm:cxn modelId="{BC49135E-3EE7-4329-8200-B88962A23628}" type="presParOf" srcId="{3AB3AB8B-3EAF-4D29-BE04-1342E15F8D1E}" destId="{AADE95F5-2C9C-4B50-BC12-E239BCF7EDF9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BA3553E-BF09-413B-97AA-CF95B8F5AFA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B190C64D-AB6E-4BDD-8649-8887289718B5}">
      <dgm:prSet phldrT="[Текст]"/>
      <dgm:spPr/>
      <dgm:t>
        <a:bodyPr/>
        <a:lstStyle/>
        <a:p>
          <a:r>
            <a:rPr lang="ru-RU" dirty="0"/>
            <a:t>Клиент</a:t>
          </a:r>
        </a:p>
      </dgm:t>
    </dgm:pt>
    <dgm:pt modelId="{248ED94A-08E4-4621-BA21-600D05F1B135}" type="parTrans" cxnId="{08F172B0-9E2A-4BE2-80CD-EB2B453F7E3C}">
      <dgm:prSet/>
      <dgm:spPr/>
      <dgm:t>
        <a:bodyPr/>
        <a:lstStyle/>
        <a:p>
          <a:endParaRPr lang="ru-RU"/>
        </a:p>
      </dgm:t>
    </dgm:pt>
    <dgm:pt modelId="{AE06F09D-5873-45A3-83B3-1C2E60E96F16}" type="sibTrans" cxnId="{08F172B0-9E2A-4BE2-80CD-EB2B453F7E3C}">
      <dgm:prSet/>
      <dgm:spPr/>
      <dgm:t>
        <a:bodyPr/>
        <a:lstStyle/>
        <a:p>
          <a:endParaRPr lang="ru-RU"/>
        </a:p>
      </dgm:t>
    </dgm:pt>
    <dgm:pt modelId="{B5CBD002-31A4-47AA-B907-2CDA51DA9FCC}">
      <dgm:prSet phldrT="[Текст]"/>
      <dgm:spPr/>
      <dgm:t>
        <a:bodyPr/>
        <a:lstStyle/>
        <a:p>
          <a:r>
            <a:rPr lang="ru-RU" dirty="0"/>
            <a:t>Название РК</a:t>
          </a:r>
        </a:p>
      </dgm:t>
    </dgm:pt>
    <dgm:pt modelId="{DC5C46BE-EB7C-43B2-9839-B0C9A56E8A21}" type="parTrans" cxnId="{57CC919C-2A38-4FBB-9E64-3AB4BA899A21}">
      <dgm:prSet/>
      <dgm:spPr/>
      <dgm:t>
        <a:bodyPr/>
        <a:lstStyle/>
        <a:p>
          <a:endParaRPr lang="ru-RU"/>
        </a:p>
      </dgm:t>
    </dgm:pt>
    <dgm:pt modelId="{FD3DF8ED-1D5D-49C0-9A62-69F7E718C1B1}" type="sibTrans" cxnId="{57CC919C-2A38-4FBB-9E64-3AB4BA899A21}">
      <dgm:prSet/>
      <dgm:spPr/>
      <dgm:t>
        <a:bodyPr/>
        <a:lstStyle/>
        <a:p>
          <a:endParaRPr lang="ru-RU"/>
        </a:p>
      </dgm:t>
    </dgm:pt>
    <dgm:pt modelId="{FB1DFF3C-ABCB-49AF-9952-69BA4B0CBDA9}">
      <dgm:prSet phldrT="[Текст]"/>
      <dgm:spPr/>
      <dgm:t>
        <a:bodyPr/>
        <a:lstStyle/>
        <a:p>
          <a:r>
            <a:rPr lang="ru-RU" dirty="0"/>
            <a:t>Бюджет</a:t>
          </a:r>
        </a:p>
      </dgm:t>
    </dgm:pt>
    <dgm:pt modelId="{BD729A1F-9ECF-4FE5-852D-973AC86F97CF}" type="parTrans" cxnId="{781D05C9-9469-4E3D-B9DA-6AA11115E664}">
      <dgm:prSet/>
      <dgm:spPr/>
      <dgm:t>
        <a:bodyPr/>
        <a:lstStyle/>
        <a:p>
          <a:endParaRPr lang="ru-RU"/>
        </a:p>
      </dgm:t>
    </dgm:pt>
    <dgm:pt modelId="{AAFD842E-3417-4618-935A-133F43C9B522}" type="sibTrans" cxnId="{781D05C9-9469-4E3D-B9DA-6AA11115E664}">
      <dgm:prSet/>
      <dgm:spPr/>
      <dgm:t>
        <a:bodyPr/>
        <a:lstStyle/>
        <a:p>
          <a:endParaRPr lang="ru-RU"/>
        </a:p>
      </dgm:t>
    </dgm:pt>
    <dgm:pt modelId="{663F3CA6-F3E0-4C90-9ED0-F589D743CE2D}">
      <dgm:prSet phldrT="[Текст]"/>
      <dgm:spPr/>
      <dgm:t>
        <a:bodyPr/>
        <a:lstStyle/>
        <a:p>
          <a:r>
            <a:rPr lang="ru-RU" dirty="0"/>
            <a:t>Период</a:t>
          </a:r>
        </a:p>
      </dgm:t>
    </dgm:pt>
    <dgm:pt modelId="{312E612B-444B-4C3B-8F18-BAC99D95FD34}" type="parTrans" cxnId="{59DAD8AB-68A0-4688-9964-C5417869DA3A}">
      <dgm:prSet/>
      <dgm:spPr/>
      <dgm:t>
        <a:bodyPr/>
        <a:lstStyle/>
        <a:p>
          <a:endParaRPr lang="ru-RU"/>
        </a:p>
      </dgm:t>
    </dgm:pt>
    <dgm:pt modelId="{565196A4-E5E3-4323-A134-2403B01C9B15}" type="sibTrans" cxnId="{59DAD8AB-68A0-4688-9964-C5417869DA3A}">
      <dgm:prSet/>
      <dgm:spPr/>
      <dgm:t>
        <a:bodyPr/>
        <a:lstStyle/>
        <a:p>
          <a:endParaRPr lang="ru-RU"/>
        </a:p>
      </dgm:t>
    </dgm:pt>
    <dgm:pt modelId="{B64919F2-C450-4206-B468-772C311C1963}">
      <dgm:prSet phldrT="[Текст]"/>
      <dgm:spPr/>
      <dgm:t>
        <a:bodyPr/>
        <a:lstStyle/>
        <a:p>
          <a:r>
            <a:rPr lang="ru-RU" dirty="0"/>
            <a:t>Карточка проекта</a:t>
          </a:r>
        </a:p>
      </dgm:t>
    </dgm:pt>
    <dgm:pt modelId="{8B4D2AEE-6898-4008-B726-B9A721E47654}" type="parTrans" cxnId="{64C68337-E654-488A-B1A3-2B539683DC20}">
      <dgm:prSet/>
      <dgm:spPr/>
      <dgm:t>
        <a:bodyPr/>
        <a:lstStyle/>
        <a:p>
          <a:endParaRPr lang="ru-RU"/>
        </a:p>
      </dgm:t>
    </dgm:pt>
    <dgm:pt modelId="{CCE47AAE-EE18-422C-9954-ABF97FB87FC3}" type="sibTrans" cxnId="{64C68337-E654-488A-B1A3-2B539683DC20}">
      <dgm:prSet/>
      <dgm:spPr/>
      <dgm:t>
        <a:bodyPr/>
        <a:lstStyle/>
        <a:p>
          <a:endParaRPr lang="ru-RU"/>
        </a:p>
      </dgm:t>
    </dgm:pt>
    <dgm:pt modelId="{11ED52E9-39C7-4F06-BA78-9C83C8E20126}" type="pres">
      <dgm:prSet presAssocID="{EBA3553E-BF09-413B-97AA-CF95B8F5AFA3}" presName="Name0" presStyleCnt="0">
        <dgm:presLayoutVars>
          <dgm:dir/>
          <dgm:resizeHandles val="exact"/>
        </dgm:presLayoutVars>
      </dgm:prSet>
      <dgm:spPr/>
    </dgm:pt>
    <dgm:pt modelId="{0D90DF8D-25D8-439A-A8E7-46A319272EB3}" type="pres">
      <dgm:prSet presAssocID="{B190C64D-AB6E-4BDD-8649-8887289718B5}" presName="node" presStyleLbl="node1" presStyleIdx="0" presStyleCnt="5">
        <dgm:presLayoutVars>
          <dgm:bulletEnabled val="1"/>
        </dgm:presLayoutVars>
      </dgm:prSet>
      <dgm:spPr/>
    </dgm:pt>
    <dgm:pt modelId="{170BBF24-665E-4305-B1B3-73CB72AF1285}" type="pres">
      <dgm:prSet presAssocID="{AE06F09D-5873-45A3-83B3-1C2E60E96F16}" presName="sibTrans" presStyleLbl="sibTrans2D1" presStyleIdx="0" presStyleCnt="4"/>
      <dgm:spPr/>
    </dgm:pt>
    <dgm:pt modelId="{30BF1F89-8CCA-40AE-AC42-5A23F3208CB0}" type="pres">
      <dgm:prSet presAssocID="{AE06F09D-5873-45A3-83B3-1C2E60E96F16}" presName="connectorText" presStyleLbl="sibTrans2D1" presStyleIdx="0" presStyleCnt="4"/>
      <dgm:spPr/>
    </dgm:pt>
    <dgm:pt modelId="{80F42B50-0ABA-4044-8856-968A620AF24C}" type="pres">
      <dgm:prSet presAssocID="{B5CBD002-31A4-47AA-B907-2CDA51DA9FCC}" presName="node" presStyleLbl="node1" presStyleIdx="1" presStyleCnt="5">
        <dgm:presLayoutVars>
          <dgm:bulletEnabled val="1"/>
        </dgm:presLayoutVars>
      </dgm:prSet>
      <dgm:spPr/>
    </dgm:pt>
    <dgm:pt modelId="{6E7541FA-B3BE-4F1B-B04A-46EF764F0B0F}" type="pres">
      <dgm:prSet presAssocID="{FD3DF8ED-1D5D-49C0-9A62-69F7E718C1B1}" presName="sibTrans" presStyleLbl="sibTrans2D1" presStyleIdx="1" presStyleCnt="4"/>
      <dgm:spPr/>
    </dgm:pt>
    <dgm:pt modelId="{B7487A31-1A89-415F-BFFF-38DB52C7A2D9}" type="pres">
      <dgm:prSet presAssocID="{FD3DF8ED-1D5D-49C0-9A62-69F7E718C1B1}" presName="connectorText" presStyleLbl="sibTrans2D1" presStyleIdx="1" presStyleCnt="4"/>
      <dgm:spPr/>
    </dgm:pt>
    <dgm:pt modelId="{99296784-CB10-48BC-A26A-45A698EA109A}" type="pres">
      <dgm:prSet presAssocID="{FB1DFF3C-ABCB-49AF-9952-69BA4B0CBDA9}" presName="node" presStyleLbl="node1" presStyleIdx="2" presStyleCnt="5">
        <dgm:presLayoutVars>
          <dgm:bulletEnabled val="1"/>
        </dgm:presLayoutVars>
      </dgm:prSet>
      <dgm:spPr/>
    </dgm:pt>
    <dgm:pt modelId="{04A0B140-E887-46AE-918B-D2EC3B58B8A6}" type="pres">
      <dgm:prSet presAssocID="{AAFD842E-3417-4618-935A-133F43C9B522}" presName="sibTrans" presStyleLbl="sibTrans2D1" presStyleIdx="2" presStyleCnt="4"/>
      <dgm:spPr/>
    </dgm:pt>
    <dgm:pt modelId="{2230B7F5-02A2-4155-9658-9A9E48D1F409}" type="pres">
      <dgm:prSet presAssocID="{AAFD842E-3417-4618-935A-133F43C9B522}" presName="connectorText" presStyleLbl="sibTrans2D1" presStyleIdx="2" presStyleCnt="4"/>
      <dgm:spPr/>
    </dgm:pt>
    <dgm:pt modelId="{614649A1-B11A-48DD-BE7F-186079811D7B}" type="pres">
      <dgm:prSet presAssocID="{663F3CA6-F3E0-4C90-9ED0-F589D743CE2D}" presName="node" presStyleLbl="node1" presStyleIdx="3" presStyleCnt="5">
        <dgm:presLayoutVars>
          <dgm:bulletEnabled val="1"/>
        </dgm:presLayoutVars>
      </dgm:prSet>
      <dgm:spPr/>
    </dgm:pt>
    <dgm:pt modelId="{96B8640D-4984-4959-95DB-D12A8B6FBF4F}" type="pres">
      <dgm:prSet presAssocID="{565196A4-E5E3-4323-A134-2403B01C9B15}" presName="sibTrans" presStyleLbl="sibTrans2D1" presStyleIdx="3" presStyleCnt="4"/>
      <dgm:spPr/>
    </dgm:pt>
    <dgm:pt modelId="{BD4363A0-5012-4A8C-BDFF-C19DDD5B7C7A}" type="pres">
      <dgm:prSet presAssocID="{565196A4-E5E3-4323-A134-2403B01C9B15}" presName="connectorText" presStyleLbl="sibTrans2D1" presStyleIdx="3" presStyleCnt="4"/>
      <dgm:spPr/>
    </dgm:pt>
    <dgm:pt modelId="{A3B31C88-AD9B-4920-9CA1-751711F84331}" type="pres">
      <dgm:prSet presAssocID="{B64919F2-C450-4206-B468-772C311C1963}" presName="node" presStyleLbl="node1" presStyleIdx="4" presStyleCnt="5" custScaleX="137532">
        <dgm:presLayoutVars>
          <dgm:bulletEnabled val="1"/>
        </dgm:presLayoutVars>
      </dgm:prSet>
      <dgm:spPr/>
    </dgm:pt>
  </dgm:ptLst>
  <dgm:cxnLst>
    <dgm:cxn modelId="{4CFD9D04-EADB-4A77-9D7B-6790BCC09623}" type="presOf" srcId="{B64919F2-C450-4206-B468-772C311C1963}" destId="{A3B31C88-AD9B-4920-9CA1-751711F84331}" srcOrd="0" destOrd="0" presId="urn:microsoft.com/office/officeart/2005/8/layout/process1"/>
    <dgm:cxn modelId="{7C2F6B2B-F312-42D4-A786-A98B1BD244CD}" type="presOf" srcId="{565196A4-E5E3-4323-A134-2403B01C9B15}" destId="{96B8640D-4984-4959-95DB-D12A8B6FBF4F}" srcOrd="0" destOrd="0" presId="urn:microsoft.com/office/officeart/2005/8/layout/process1"/>
    <dgm:cxn modelId="{E5F7352D-B9D1-4B57-BE5D-BB60B17F9973}" type="presOf" srcId="{EBA3553E-BF09-413B-97AA-CF95B8F5AFA3}" destId="{11ED52E9-39C7-4F06-BA78-9C83C8E20126}" srcOrd="0" destOrd="0" presId="urn:microsoft.com/office/officeart/2005/8/layout/process1"/>
    <dgm:cxn modelId="{64C68337-E654-488A-B1A3-2B539683DC20}" srcId="{EBA3553E-BF09-413B-97AA-CF95B8F5AFA3}" destId="{B64919F2-C450-4206-B468-772C311C1963}" srcOrd="4" destOrd="0" parTransId="{8B4D2AEE-6898-4008-B726-B9A721E47654}" sibTransId="{CCE47AAE-EE18-422C-9954-ABF97FB87FC3}"/>
    <dgm:cxn modelId="{220D383A-344B-40AB-869C-0C52691918C1}" type="presOf" srcId="{AAFD842E-3417-4618-935A-133F43C9B522}" destId="{2230B7F5-02A2-4155-9658-9A9E48D1F409}" srcOrd="1" destOrd="0" presId="urn:microsoft.com/office/officeart/2005/8/layout/process1"/>
    <dgm:cxn modelId="{CA277241-27C4-4A79-82EE-E339E31F70F1}" type="presOf" srcId="{FD3DF8ED-1D5D-49C0-9A62-69F7E718C1B1}" destId="{6E7541FA-B3BE-4F1B-B04A-46EF764F0B0F}" srcOrd="0" destOrd="0" presId="urn:microsoft.com/office/officeart/2005/8/layout/process1"/>
    <dgm:cxn modelId="{A0B3284F-6273-4F63-9680-366B3D847322}" type="presOf" srcId="{663F3CA6-F3E0-4C90-9ED0-F589D743CE2D}" destId="{614649A1-B11A-48DD-BE7F-186079811D7B}" srcOrd="0" destOrd="0" presId="urn:microsoft.com/office/officeart/2005/8/layout/process1"/>
    <dgm:cxn modelId="{878CDA53-6F7D-48F2-A418-72B51D5315CF}" type="presOf" srcId="{AE06F09D-5873-45A3-83B3-1C2E60E96F16}" destId="{30BF1F89-8CCA-40AE-AC42-5A23F3208CB0}" srcOrd="1" destOrd="0" presId="urn:microsoft.com/office/officeart/2005/8/layout/process1"/>
    <dgm:cxn modelId="{3E1A9274-DEB4-4B66-929A-30091864AE64}" type="presOf" srcId="{B5CBD002-31A4-47AA-B907-2CDA51DA9FCC}" destId="{80F42B50-0ABA-4044-8856-968A620AF24C}" srcOrd="0" destOrd="0" presId="urn:microsoft.com/office/officeart/2005/8/layout/process1"/>
    <dgm:cxn modelId="{BA41E189-2F0C-4EBC-8A75-AD4C3BF16D84}" type="presOf" srcId="{AE06F09D-5873-45A3-83B3-1C2E60E96F16}" destId="{170BBF24-665E-4305-B1B3-73CB72AF1285}" srcOrd="0" destOrd="0" presId="urn:microsoft.com/office/officeart/2005/8/layout/process1"/>
    <dgm:cxn modelId="{627B319C-C2CD-4EFA-852E-8D80B7E9B5A7}" type="presOf" srcId="{FB1DFF3C-ABCB-49AF-9952-69BA4B0CBDA9}" destId="{99296784-CB10-48BC-A26A-45A698EA109A}" srcOrd="0" destOrd="0" presId="urn:microsoft.com/office/officeart/2005/8/layout/process1"/>
    <dgm:cxn modelId="{57CC919C-2A38-4FBB-9E64-3AB4BA899A21}" srcId="{EBA3553E-BF09-413B-97AA-CF95B8F5AFA3}" destId="{B5CBD002-31A4-47AA-B907-2CDA51DA9FCC}" srcOrd="1" destOrd="0" parTransId="{DC5C46BE-EB7C-43B2-9839-B0C9A56E8A21}" sibTransId="{FD3DF8ED-1D5D-49C0-9A62-69F7E718C1B1}"/>
    <dgm:cxn modelId="{59DAD8AB-68A0-4688-9964-C5417869DA3A}" srcId="{EBA3553E-BF09-413B-97AA-CF95B8F5AFA3}" destId="{663F3CA6-F3E0-4C90-9ED0-F589D743CE2D}" srcOrd="3" destOrd="0" parTransId="{312E612B-444B-4C3B-8F18-BAC99D95FD34}" sibTransId="{565196A4-E5E3-4323-A134-2403B01C9B15}"/>
    <dgm:cxn modelId="{08F172B0-9E2A-4BE2-80CD-EB2B453F7E3C}" srcId="{EBA3553E-BF09-413B-97AA-CF95B8F5AFA3}" destId="{B190C64D-AB6E-4BDD-8649-8887289718B5}" srcOrd="0" destOrd="0" parTransId="{248ED94A-08E4-4621-BA21-600D05F1B135}" sibTransId="{AE06F09D-5873-45A3-83B3-1C2E60E96F16}"/>
    <dgm:cxn modelId="{781D05C9-9469-4E3D-B9DA-6AA11115E664}" srcId="{EBA3553E-BF09-413B-97AA-CF95B8F5AFA3}" destId="{FB1DFF3C-ABCB-49AF-9952-69BA4B0CBDA9}" srcOrd="2" destOrd="0" parTransId="{BD729A1F-9ECF-4FE5-852D-973AC86F97CF}" sibTransId="{AAFD842E-3417-4618-935A-133F43C9B522}"/>
    <dgm:cxn modelId="{1954A6CE-B95C-4F5D-B7D9-DA780B95BA97}" type="presOf" srcId="{FD3DF8ED-1D5D-49C0-9A62-69F7E718C1B1}" destId="{B7487A31-1A89-415F-BFFF-38DB52C7A2D9}" srcOrd="1" destOrd="0" presId="urn:microsoft.com/office/officeart/2005/8/layout/process1"/>
    <dgm:cxn modelId="{92451BD0-740B-4BDD-9796-DF7615300976}" type="presOf" srcId="{B190C64D-AB6E-4BDD-8649-8887289718B5}" destId="{0D90DF8D-25D8-439A-A8E7-46A319272EB3}" srcOrd="0" destOrd="0" presId="urn:microsoft.com/office/officeart/2005/8/layout/process1"/>
    <dgm:cxn modelId="{F2F3FBF4-BF12-4B5B-8215-D73E1D909D40}" type="presOf" srcId="{565196A4-E5E3-4323-A134-2403B01C9B15}" destId="{BD4363A0-5012-4A8C-BDFF-C19DDD5B7C7A}" srcOrd="1" destOrd="0" presId="urn:microsoft.com/office/officeart/2005/8/layout/process1"/>
    <dgm:cxn modelId="{F72582F6-9C5D-4530-83A9-C8BC0CDD8259}" type="presOf" srcId="{AAFD842E-3417-4618-935A-133F43C9B522}" destId="{04A0B140-E887-46AE-918B-D2EC3B58B8A6}" srcOrd="0" destOrd="0" presId="urn:microsoft.com/office/officeart/2005/8/layout/process1"/>
    <dgm:cxn modelId="{25C32929-7541-4E05-8C95-4DC7D844C742}" type="presParOf" srcId="{11ED52E9-39C7-4F06-BA78-9C83C8E20126}" destId="{0D90DF8D-25D8-439A-A8E7-46A319272EB3}" srcOrd="0" destOrd="0" presId="urn:microsoft.com/office/officeart/2005/8/layout/process1"/>
    <dgm:cxn modelId="{EC9107EF-D12F-420F-9954-D1EF642897D3}" type="presParOf" srcId="{11ED52E9-39C7-4F06-BA78-9C83C8E20126}" destId="{170BBF24-665E-4305-B1B3-73CB72AF1285}" srcOrd="1" destOrd="0" presId="urn:microsoft.com/office/officeart/2005/8/layout/process1"/>
    <dgm:cxn modelId="{8A0AC5CF-6316-4CD2-9AE2-B2911FB25B3B}" type="presParOf" srcId="{170BBF24-665E-4305-B1B3-73CB72AF1285}" destId="{30BF1F89-8CCA-40AE-AC42-5A23F3208CB0}" srcOrd="0" destOrd="0" presId="urn:microsoft.com/office/officeart/2005/8/layout/process1"/>
    <dgm:cxn modelId="{1FE11CD0-0F1F-4B94-952D-9F19662C72FE}" type="presParOf" srcId="{11ED52E9-39C7-4F06-BA78-9C83C8E20126}" destId="{80F42B50-0ABA-4044-8856-968A620AF24C}" srcOrd="2" destOrd="0" presId="urn:microsoft.com/office/officeart/2005/8/layout/process1"/>
    <dgm:cxn modelId="{F9EC1B8C-BFD4-437F-B439-D48AA2166747}" type="presParOf" srcId="{11ED52E9-39C7-4F06-BA78-9C83C8E20126}" destId="{6E7541FA-B3BE-4F1B-B04A-46EF764F0B0F}" srcOrd="3" destOrd="0" presId="urn:microsoft.com/office/officeart/2005/8/layout/process1"/>
    <dgm:cxn modelId="{D8E08802-AA20-48F5-9D51-0ED1C915F296}" type="presParOf" srcId="{6E7541FA-B3BE-4F1B-B04A-46EF764F0B0F}" destId="{B7487A31-1A89-415F-BFFF-38DB52C7A2D9}" srcOrd="0" destOrd="0" presId="urn:microsoft.com/office/officeart/2005/8/layout/process1"/>
    <dgm:cxn modelId="{AA798C61-9C97-44EA-B4E2-CC9C533EE75C}" type="presParOf" srcId="{11ED52E9-39C7-4F06-BA78-9C83C8E20126}" destId="{99296784-CB10-48BC-A26A-45A698EA109A}" srcOrd="4" destOrd="0" presId="urn:microsoft.com/office/officeart/2005/8/layout/process1"/>
    <dgm:cxn modelId="{78ABDDC3-5C9F-4628-A37B-44C1E74AA066}" type="presParOf" srcId="{11ED52E9-39C7-4F06-BA78-9C83C8E20126}" destId="{04A0B140-E887-46AE-918B-D2EC3B58B8A6}" srcOrd="5" destOrd="0" presId="urn:microsoft.com/office/officeart/2005/8/layout/process1"/>
    <dgm:cxn modelId="{F80E55B1-6191-48FB-AFAF-0B36182DB50B}" type="presParOf" srcId="{04A0B140-E887-46AE-918B-D2EC3B58B8A6}" destId="{2230B7F5-02A2-4155-9658-9A9E48D1F409}" srcOrd="0" destOrd="0" presId="urn:microsoft.com/office/officeart/2005/8/layout/process1"/>
    <dgm:cxn modelId="{758114D6-7FA1-4F7F-9E7D-E4E587E5F41C}" type="presParOf" srcId="{11ED52E9-39C7-4F06-BA78-9C83C8E20126}" destId="{614649A1-B11A-48DD-BE7F-186079811D7B}" srcOrd="6" destOrd="0" presId="urn:microsoft.com/office/officeart/2005/8/layout/process1"/>
    <dgm:cxn modelId="{3573F69C-9042-4092-81B3-A72A00BCB3DE}" type="presParOf" srcId="{11ED52E9-39C7-4F06-BA78-9C83C8E20126}" destId="{96B8640D-4984-4959-95DB-D12A8B6FBF4F}" srcOrd="7" destOrd="0" presId="urn:microsoft.com/office/officeart/2005/8/layout/process1"/>
    <dgm:cxn modelId="{346CF215-E685-449D-933F-A1357931F1D0}" type="presParOf" srcId="{96B8640D-4984-4959-95DB-D12A8B6FBF4F}" destId="{BD4363A0-5012-4A8C-BDFF-C19DDD5B7C7A}" srcOrd="0" destOrd="0" presId="urn:microsoft.com/office/officeart/2005/8/layout/process1"/>
    <dgm:cxn modelId="{A6955130-4D0F-485A-92CE-BE92CA59BC19}" type="presParOf" srcId="{11ED52E9-39C7-4F06-BA78-9C83C8E20126}" destId="{A3B31C88-AD9B-4920-9CA1-751711F84331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8876A07-897F-4CBC-B47A-00DCD1EE3F05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6FAFB0C-3754-4C05-9C6D-F88E82A0A195}">
      <dgm:prSet phldrT="[Текст]"/>
      <dgm:spPr/>
      <dgm:t>
        <a:bodyPr/>
        <a:lstStyle/>
        <a:p>
          <a:r>
            <a:rPr lang="ru-RU" dirty="0"/>
            <a:t>Бриф</a:t>
          </a:r>
        </a:p>
      </dgm:t>
    </dgm:pt>
    <dgm:pt modelId="{F3A72E3E-FC44-49DF-A97A-E46B1714EC8A}" type="parTrans" cxnId="{02B35F9E-36CD-4B05-BC0B-CD2B20AC3B7A}">
      <dgm:prSet/>
      <dgm:spPr/>
      <dgm:t>
        <a:bodyPr/>
        <a:lstStyle/>
        <a:p>
          <a:endParaRPr lang="ru-RU"/>
        </a:p>
      </dgm:t>
    </dgm:pt>
    <dgm:pt modelId="{842774BA-09D7-4BAD-BFB6-77F1752EAC5E}" type="sibTrans" cxnId="{02B35F9E-36CD-4B05-BC0B-CD2B20AC3B7A}">
      <dgm:prSet/>
      <dgm:spPr/>
      <dgm:t>
        <a:bodyPr/>
        <a:lstStyle/>
        <a:p>
          <a:endParaRPr lang="ru-RU"/>
        </a:p>
      </dgm:t>
    </dgm:pt>
    <dgm:pt modelId="{2B6E8BAD-48DF-4018-A5ED-9B16C72DDF60}">
      <dgm:prSet phldrT="[Текст]"/>
      <dgm:spPr/>
      <dgm:t>
        <a:bodyPr/>
        <a:lstStyle/>
        <a:p>
          <a:r>
            <a:rPr lang="ru-RU" dirty="0"/>
            <a:t>Согласование МП</a:t>
          </a:r>
        </a:p>
      </dgm:t>
    </dgm:pt>
    <dgm:pt modelId="{B5BB97CD-7BA6-414E-976A-3AD8236BBC54}" type="parTrans" cxnId="{623D68CA-4702-46D1-822F-A39505B74141}">
      <dgm:prSet/>
      <dgm:spPr/>
      <dgm:t>
        <a:bodyPr/>
        <a:lstStyle/>
        <a:p>
          <a:endParaRPr lang="ru-RU"/>
        </a:p>
      </dgm:t>
    </dgm:pt>
    <dgm:pt modelId="{635D1430-E0F1-41A9-9368-5E26AB57FB84}" type="sibTrans" cxnId="{623D68CA-4702-46D1-822F-A39505B74141}">
      <dgm:prSet/>
      <dgm:spPr/>
      <dgm:t>
        <a:bodyPr/>
        <a:lstStyle/>
        <a:p>
          <a:endParaRPr lang="ru-RU"/>
        </a:p>
      </dgm:t>
    </dgm:pt>
    <dgm:pt modelId="{4090ADF7-653F-44C5-BEF2-0D275F6F831D}">
      <dgm:prSet phldrT="[Текст]"/>
      <dgm:spPr/>
      <dgm:t>
        <a:bodyPr/>
        <a:lstStyle/>
        <a:p>
          <a:r>
            <a:rPr lang="ru-RU" dirty="0"/>
            <a:t>Синергия</a:t>
          </a:r>
        </a:p>
        <a:p>
          <a:r>
            <a:rPr lang="ru-RU" dirty="0" err="1"/>
            <a:t>Бриф+файл+отчеты</a:t>
          </a:r>
          <a:r>
            <a:rPr lang="ru-RU" dirty="0"/>
            <a:t>=</a:t>
          </a:r>
        </a:p>
        <a:p>
          <a:r>
            <a:rPr lang="ru-RU" dirty="0"/>
            <a:t>расчеты по брифу</a:t>
          </a:r>
        </a:p>
      </dgm:t>
    </dgm:pt>
    <dgm:pt modelId="{56B4D675-24DA-48CE-81AC-161FB3039C82}" type="parTrans" cxnId="{CFD57231-A73F-45D0-9001-9DF8734CD097}">
      <dgm:prSet/>
      <dgm:spPr/>
      <dgm:t>
        <a:bodyPr/>
        <a:lstStyle/>
        <a:p>
          <a:endParaRPr lang="ru-RU"/>
        </a:p>
      </dgm:t>
    </dgm:pt>
    <dgm:pt modelId="{38D93A5D-D7A8-4F0F-88A8-D5DDE9E27EB5}" type="sibTrans" cxnId="{CFD57231-A73F-45D0-9001-9DF8734CD097}">
      <dgm:prSet/>
      <dgm:spPr/>
      <dgm:t>
        <a:bodyPr/>
        <a:lstStyle/>
        <a:p>
          <a:endParaRPr lang="ru-RU"/>
        </a:p>
      </dgm:t>
    </dgm:pt>
    <dgm:pt modelId="{107685D7-6083-4892-81B7-C5775BA7F37D}" type="pres">
      <dgm:prSet presAssocID="{A8876A07-897F-4CBC-B47A-00DCD1EE3F05}" presName="Name0" presStyleCnt="0">
        <dgm:presLayoutVars>
          <dgm:dir/>
          <dgm:resizeHandles val="exact"/>
        </dgm:presLayoutVars>
      </dgm:prSet>
      <dgm:spPr/>
    </dgm:pt>
    <dgm:pt modelId="{4650F935-EB52-4CB0-B07F-8E92BBE5E9B7}" type="pres">
      <dgm:prSet presAssocID="{E6FAFB0C-3754-4C05-9C6D-F88E82A0A195}" presName="node" presStyleLbl="node1" presStyleIdx="0" presStyleCnt="3">
        <dgm:presLayoutVars>
          <dgm:bulletEnabled val="1"/>
        </dgm:presLayoutVars>
      </dgm:prSet>
      <dgm:spPr/>
    </dgm:pt>
    <dgm:pt modelId="{68EDA734-884A-4D8F-BA0E-CF399DF1ABAE}" type="pres">
      <dgm:prSet presAssocID="{842774BA-09D7-4BAD-BFB6-77F1752EAC5E}" presName="sibTrans" presStyleLbl="sibTrans2D1" presStyleIdx="0" presStyleCnt="3"/>
      <dgm:spPr/>
    </dgm:pt>
    <dgm:pt modelId="{2CE072EA-F5D6-48B8-8179-FE44E0D20A4E}" type="pres">
      <dgm:prSet presAssocID="{842774BA-09D7-4BAD-BFB6-77F1752EAC5E}" presName="connectorText" presStyleLbl="sibTrans2D1" presStyleIdx="0" presStyleCnt="3"/>
      <dgm:spPr/>
    </dgm:pt>
    <dgm:pt modelId="{A35E28BD-533B-4587-81F8-E51C7BBC7236}" type="pres">
      <dgm:prSet presAssocID="{2B6E8BAD-48DF-4018-A5ED-9B16C72DDF60}" presName="node" presStyleLbl="node1" presStyleIdx="1" presStyleCnt="3">
        <dgm:presLayoutVars>
          <dgm:bulletEnabled val="1"/>
        </dgm:presLayoutVars>
      </dgm:prSet>
      <dgm:spPr/>
    </dgm:pt>
    <dgm:pt modelId="{994C8A28-8659-4173-A716-80D821937916}" type="pres">
      <dgm:prSet presAssocID="{635D1430-E0F1-41A9-9368-5E26AB57FB84}" presName="sibTrans" presStyleLbl="sibTrans2D1" presStyleIdx="1" presStyleCnt="3"/>
      <dgm:spPr/>
    </dgm:pt>
    <dgm:pt modelId="{B4422506-0BDC-4967-AFCB-7D084771A90C}" type="pres">
      <dgm:prSet presAssocID="{635D1430-E0F1-41A9-9368-5E26AB57FB84}" presName="connectorText" presStyleLbl="sibTrans2D1" presStyleIdx="1" presStyleCnt="3"/>
      <dgm:spPr/>
    </dgm:pt>
    <dgm:pt modelId="{079FA7CC-3BD9-464A-A1FE-F873D8EA00DE}" type="pres">
      <dgm:prSet presAssocID="{4090ADF7-653F-44C5-BEF2-0D275F6F831D}" presName="node" presStyleLbl="node1" presStyleIdx="2" presStyleCnt="3">
        <dgm:presLayoutVars>
          <dgm:bulletEnabled val="1"/>
        </dgm:presLayoutVars>
      </dgm:prSet>
      <dgm:spPr/>
    </dgm:pt>
    <dgm:pt modelId="{50A1709A-C861-412D-927D-DDFD13316702}" type="pres">
      <dgm:prSet presAssocID="{38D93A5D-D7A8-4F0F-88A8-D5DDE9E27EB5}" presName="sibTrans" presStyleLbl="sibTrans2D1" presStyleIdx="2" presStyleCnt="3"/>
      <dgm:spPr/>
    </dgm:pt>
    <dgm:pt modelId="{9391A95A-B4A0-4FA6-AB76-62045129427B}" type="pres">
      <dgm:prSet presAssocID="{38D93A5D-D7A8-4F0F-88A8-D5DDE9E27EB5}" presName="connectorText" presStyleLbl="sibTrans2D1" presStyleIdx="2" presStyleCnt="3"/>
      <dgm:spPr/>
    </dgm:pt>
  </dgm:ptLst>
  <dgm:cxnLst>
    <dgm:cxn modelId="{F238FD22-841A-4172-8642-00BB03076410}" type="presOf" srcId="{4090ADF7-653F-44C5-BEF2-0D275F6F831D}" destId="{079FA7CC-3BD9-464A-A1FE-F873D8EA00DE}" srcOrd="0" destOrd="0" presId="urn:microsoft.com/office/officeart/2005/8/layout/cycle7"/>
    <dgm:cxn modelId="{0B549824-D428-49A3-8813-2A02777157E1}" type="presOf" srcId="{38D93A5D-D7A8-4F0F-88A8-D5DDE9E27EB5}" destId="{50A1709A-C861-412D-927D-DDFD13316702}" srcOrd="0" destOrd="0" presId="urn:microsoft.com/office/officeart/2005/8/layout/cycle7"/>
    <dgm:cxn modelId="{CFD57231-A73F-45D0-9001-9DF8734CD097}" srcId="{A8876A07-897F-4CBC-B47A-00DCD1EE3F05}" destId="{4090ADF7-653F-44C5-BEF2-0D275F6F831D}" srcOrd="2" destOrd="0" parTransId="{56B4D675-24DA-48CE-81AC-161FB3039C82}" sibTransId="{38D93A5D-D7A8-4F0F-88A8-D5DDE9E27EB5}"/>
    <dgm:cxn modelId="{B1B55636-8C31-487B-A781-1976BCE3265D}" type="presOf" srcId="{E6FAFB0C-3754-4C05-9C6D-F88E82A0A195}" destId="{4650F935-EB52-4CB0-B07F-8E92BBE5E9B7}" srcOrd="0" destOrd="0" presId="urn:microsoft.com/office/officeart/2005/8/layout/cycle7"/>
    <dgm:cxn modelId="{B7944043-A4C1-4ED6-BA93-04F0162FC9FB}" type="presOf" srcId="{842774BA-09D7-4BAD-BFB6-77F1752EAC5E}" destId="{2CE072EA-F5D6-48B8-8179-FE44E0D20A4E}" srcOrd="1" destOrd="0" presId="urn:microsoft.com/office/officeart/2005/8/layout/cycle7"/>
    <dgm:cxn modelId="{AB8D9458-7A5B-4C18-ADB2-CAC67D1A0524}" type="presOf" srcId="{2B6E8BAD-48DF-4018-A5ED-9B16C72DDF60}" destId="{A35E28BD-533B-4587-81F8-E51C7BBC7236}" srcOrd="0" destOrd="0" presId="urn:microsoft.com/office/officeart/2005/8/layout/cycle7"/>
    <dgm:cxn modelId="{39587484-DECD-4AA4-93E4-610E9057EA01}" type="presOf" srcId="{635D1430-E0F1-41A9-9368-5E26AB57FB84}" destId="{994C8A28-8659-4173-A716-80D821937916}" srcOrd="0" destOrd="0" presId="urn:microsoft.com/office/officeart/2005/8/layout/cycle7"/>
    <dgm:cxn modelId="{02B35F9E-36CD-4B05-BC0B-CD2B20AC3B7A}" srcId="{A8876A07-897F-4CBC-B47A-00DCD1EE3F05}" destId="{E6FAFB0C-3754-4C05-9C6D-F88E82A0A195}" srcOrd="0" destOrd="0" parTransId="{F3A72E3E-FC44-49DF-A97A-E46B1714EC8A}" sibTransId="{842774BA-09D7-4BAD-BFB6-77F1752EAC5E}"/>
    <dgm:cxn modelId="{B9A650C3-DF97-4E4F-A995-C3E17095151B}" type="presOf" srcId="{A8876A07-897F-4CBC-B47A-00DCD1EE3F05}" destId="{107685D7-6083-4892-81B7-C5775BA7F37D}" srcOrd="0" destOrd="0" presId="urn:microsoft.com/office/officeart/2005/8/layout/cycle7"/>
    <dgm:cxn modelId="{F671B0C6-BB26-40EF-86F2-26A5FF6B6DDE}" type="presOf" srcId="{635D1430-E0F1-41A9-9368-5E26AB57FB84}" destId="{B4422506-0BDC-4967-AFCB-7D084771A90C}" srcOrd="1" destOrd="0" presId="urn:microsoft.com/office/officeart/2005/8/layout/cycle7"/>
    <dgm:cxn modelId="{623D68CA-4702-46D1-822F-A39505B74141}" srcId="{A8876A07-897F-4CBC-B47A-00DCD1EE3F05}" destId="{2B6E8BAD-48DF-4018-A5ED-9B16C72DDF60}" srcOrd="1" destOrd="0" parTransId="{B5BB97CD-7BA6-414E-976A-3AD8236BBC54}" sibTransId="{635D1430-E0F1-41A9-9368-5E26AB57FB84}"/>
    <dgm:cxn modelId="{B50F7FCB-3F36-4C0D-A8C5-FC633341A099}" type="presOf" srcId="{842774BA-09D7-4BAD-BFB6-77F1752EAC5E}" destId="{68EDA734-884A-4D8F-BA0E-CF399DF1ABAE}" srcOrd="0" destOrd="0" presId="urn:microsoft.com/office/officeart/2005/8/layout/cycle7"/>
    <dgm:cxn modelId="{9F0DD0DD-84C0-4370-B5B7-E0B7BCFE6A9D}" type="presOf" srcId="{38D93A5D-D7A8-4F0F-88A8-D5DDE9E27EB5}" destId="{9391A95A-B4A0-4FA6-AB76-62045129427B}" srcOrd="1" destOrd="0" presId="urn:microsoft.com/office/officeart/2005/8/layout/cycle7"/>
    <dgm:cxn modelId="{256538B0-FF29-4DAB-993A-A30B163FBC93}" type="presParOf" srcId="{107685D7-6083-4892-81B7-C5775BA7F37D}" destId="{4650F935-EB52-4CB0-B07F-8E92BBE5E9B7}" srcOrd="0" destOrd="0" presId="urn:microsoft.com/office/officeart/2005/8/layout/cycle7"/>
    <dgm:cxn modelId="{9348C55F-D045-4D86-A1E7-15BAB3368CA7}" type="presParOf" srcId="{107685D7-6083-4892-81B7-C5775BA7F37D}" destId="{68EDA734-884A-4D8F-BA0E-CF399DF1ABAE}" srcOrd="1" destOrd="0" presId="urn:microsoft.com/office/officeart/2005/8/layout/cycle7"/>
    <dgm:cxn modelId="{6C7E20FE-6C54-4193-A0B9-7254D7F03E7F}" type="presParOf" srcId="{68EDA734-884A-4D8F-BA0E-CF399DF1ABAE}" destId="{2CE072EA-F5D6-48B8-8179-FE44E0D20A4E}" srcOrd="0" destOrd="0" presId="urn:microsoft.com/office/officeart/2005/8/layout/cycle7"/>
    <dgm:cxn modelId="{607FAF5C-6BC0-4F18-B766-AA21152EE2D6}" type="presParOf" srcId="{107685D7-6083-4892-81B7-C5775BA7F37D}" destId="{A35E28BD-533B-4587-81F8-E51C7BBC7236}" srcOrd="2" destOrd="0" presId="urn:microsoft.com/office/officeart/2005/8/layout/cycle7"/>
    <dgm:cxn modelId="{5BF692A2-081F-4489-AFC4-B3B4861BA791}" type="presParOf" srcId="{107685D7-6083-4892-81B7-C5775BA7F37D}" destId="{994C8A28-8659-4173-A716-80D821937916}" srcOrd="3" destOrd="0" presId="urn:microsoft.com/office/officeart/2005/8/layout/cycle7"/>
    <dgm:cxn modelId="{CB1CAE39-9C2D-461D-9436-0819B1CF39A7}" type="presParOf" srcId="{994C8A28-8659-4173-A716-80D821937916}" destId="{B4422506-0BDC-4967-AFCB-7D084771A90C}" srcOrd="0" destOrd="0" presId="urn:microsoft.com/office/officeart/2005/8/layout/cycle7"/>
    <dgm:cxn modelId="{2D3F0DA8-420B-40AC-8362-1D2A985EFC78}" type="presParOf" srcId="{107685D7-6083-4892-81B7-C5775BA7F37D}" destId="{079FA7CC-3BD9-464A-A1FE-F873D8EA00DE}" srcOrd="4" destOrd="0" presId="urn:microsoft.com/office/officeart/2005/8/layout/cycle7"/>
    <dgm:cxn modelId="{0FC5ED26-F20A-45F8-BDB1-ED8DAD479E59}" type="presParOf" srcId="{107685D7-6083-4892-81B7-C5775BA7F37D}" destId="{50A1709A-C861-412D-927D-DDFD13316702}" srcOrd="5" destOrd="0" presId="urn:microsoft.com/office/officeart/2005/8/layout/cycle7"/>
    <dgm:cxn modelId="{51FB938C-0682-4749-A88C-3FCD33BD21EB}" type="presParOf" srcId="{50A1709A-C861-412D-927D-DDFD13316702}" destId="{9391A95A-B4A0-4FA6-AB76-62045129427B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40DEBFFC-8BE6-4A6E-A29E-E220885D62DD}" type="doc">
      <dgm:prSet loTypeId="urn:microsoft.com/office/officeart/2005/8/layout/chevron1" loCatId="process" qsTypeId="urn:microsoft.com/office/officeart/2005/8/quickstyle/simple1" qsCatId="simple" csTypeId="urn:microsoft.com/office/officeart/2005/8/colors/colorful2" csCatId="colorful" phldr="1"/>
      <dgm:spPr/>
    </dgm:pt>
    <dgm:pt modelId="{46B427F5-E98E-4F1A-9DD6-00E00E933AB4}">
      <dgm:prSet phldrT="[Текст]"/>
      <dgm:spPr/>
      <dgm:t>
        <a:bodyPr/>
        <a:lstStyle/>
        <a:p>
          <a:r>
            <a:rPr lang="ru-RU" dirty="0"/>
            <a:t>Расчет</a:t>
          </a:r>
        </a:p>
      </dgm:t>
    </dgm:pt>
    <dgm:pt modelId="{3E13A39E-B2D0-48FF-A674-405449D4D47F}" type="parTrans" cxnId="{CDE62821-298E-41D0-8313-AF4AC72B7EA6}">
      <dgm:prSet/>
      <dgm:spPr/>
      <dgm:t>
        <a:bodyPr/>
        <a:lstStyle/>
        <a:p>
          <a:endParaRPr lang="ru-RU"/>
        </a:p>
      </dgm:t>
    </dgm:pt>
    <dgm:pt modelId="{A12A3ADA-7DEA-41D2-9A65-C36EFB1C1634}" type="sibTrans" cxnId="{CDE62821-298E-41D0-8313-AF4AC72B7EA6}">
      <dgm:prSet/>
      <dgm:spPr/>
      <dgm:t>
        <a:bodyPr/>
        <a:lstStyle/>
        <a:p>
          <a:endParaRPr lang="ru-RU"/>
        </a:p>
      </dgm:t>
    </dgm:pt>
    <dgm:pt modelId="{65F81AEC-1950-45C3-B171-4523EA29AB7B}">
      <dgm:prSet phldrT="[Текст]"/>
      <dgm:spPr/>
      <dgm:t>
        <a:bodyPr/>
        <a:lstStyle/>
        <a:p>
          <a:r>
            <a:rPr lang="ru-RU" dirty="0"/>
            <a:t>Выбор позиций</a:t>
          </a:r>
        </a:p>
      </dgm:t>
    </dgm:pt>
    <dgm:pt modelId="{BA5F83F0-39AD-41D1-98E9-346326AD0C96}" type="parTrans" cxnId="{7FD65F39-30D8-4DA1-A038-F4F6B93B8C2A}">
      <dgm:prSet/>
      <dgm:spPr/>
      <dgm:t>
        <a:bodyPr/>
        <a:lstStyle/>
        <a:p>
          <a:endParaRPr lang="ru-RU"/>
        </a:p>
      </dgm:t>
    </dgm:pt>
    <dgm:pt modelId="{4CFB3504-D4B0-4B21-AA94-6A5F89680D55}" type="sibTrans" cxnId="{7FD65F39-30D8-4DA1-A038-F4F6B93B8C2A}">
      <dgm:prSet/>
      <dgm:spPr/>
      <dgm:t>
        <a:bodyPr/>
        <a:lstStyle/>
        <a:p>
          <a:endParaRPr lang="ru-RU"/>
        </a:p>
      </dgm:t>
    </dgm:pt>
    <dgm:pt modelId="{7C49633B-CB72-4F3F-A5F9-B4BD280D4AB8}">
      <dgm:prSet phldrT="[Текст]"/>
      <dgm:spPr/>
      <dgm:t>
        <a:bodyPr/>
        <a:lstStyle/>
        <a:p>
          <a:r>
            <a:rPr lang="ru-RU" dirty="0"/>
            <a:t>Загрузка расчета</a:t>
          </a:r>
        </a:p>
      </dgm:t>
    </dgm:pt>
    <dgm:pt modelId="{B57DDB16-37D6-4D6B-B934-6046E6B9B86D}" type="parTrans" cxnId="{2093600D-7374-4F7E-8936-691EC9CA4A6E}">
      <dgm:prSet/>
      <dgm:spPr/>
      <dgm:t>
        <a:bodyPr/>
        <a:lstStyle/>
        <a:p>
          <a:endParaRPr lang="ru-RU"/>
        </a:p>
      </dgm:t>
    </dgm:pt>
    <dgm:pt modelId="{356B13D9-C832-45DF-A9C6-887CE3F95E61}" type="sibTrans" cxnId="{2093600D-7374-4F7E-8936-691EC9CA4A6E}">
      <dgm:prSet/>
      <dgm:spPr/>
      <dgm:t>
        <a:bodyPr/>
        <a:lstStyle/>
        <a:p>
          <a:endParaRPr lang="ru-RU"/>
        </a:p>
      </dgm:t>
    </dgm:pt>
    <dgm:pt modelId="{61242983-5F5E-4A05-A670-8B1F3BA339DA}" type="pres">
      <dgm:prSet presAssocID="{40DEBFFC-8BE6-4A6E-A29E-E220885D62DD}" presName="Name0" presStyleCnt="0">
        <dgm:presLayoutVars>
          <dgm:dir/>
          <dgm:animLvl val="lvl"/>
          <dgm:resizeHandles val="exact"/>
        </dgm:presLayoutVars>
      </dgm:prSet>
      <dgm:spPr/>
    </dgm:pt>
    <dgm:pt modelId="{AB8851E0-8A56-4650-B7AC-FDFACEF0B240}" type="pres">
      <dgm:prSet presAssocID="{46B427F5-E98E-4F1A-9DD6-00E00E933AB4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A3F01896-07E8-4BE9-9916-307768669DDA}" type="pres">
      <dgm:prSet presAssocID="{A12A3ADA-7DEA-41D2-9A65-C36EFB1C1634}" presName="parTxOnlySpace" presStyleCnt="0"/>
      <dgm:spPr/>
    </dgm:pt>
    <dgm:pt modelId="{32743348-AFFD-4B93-9544-686E40C80E37}" type="pres">
      <dgm:prSet presAssocID="{65F81AEC-1950-45C3-B171-4523EA29AB7B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D19DE8D1-96B0-4108-818B-AB1A8C45F673}" type="pres">
      <dgm:prSet presAssocID="{4CFB3504-D4B0-4B21-AA94-6A5F89680D55}" presName="parTxOnlySpace" presStyleCnt="0"/>
      <dgm:spPr/>
    </dgm:pt>
    <dgm:pt modelId="{1A944C27-2C58-4609-BC55-D164309117B3}" type="pres">
      <dgm:prSet presAssocID="{7C49633B-CB72-4F3F-A5F9-B4BD280D4AB8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2093600D-7374-4F7E-8936-691EC9CA4A6E}" srcId="{40DEBFFC-8BE6-4A6E-A29E-E220885D62DD}" destId="{7C49633B-CB72-4F3F-A5F9-B4BD280D4AB8}" srcOrd="2" destOrd="0" parTransId="{B57DDB16-37D6-4D6B-B934-6046E6B9B86D}" sibTransId="{356B13D9-C832-45DF-A9C6-887CE3F95E61}"/>
    <dgm:cxn modelId="{CDE62821-298E-41D0-8313-AF4AC72B7EA6}" srcId="{40DEBFFC-8BE6-4A6E-A29E-E220885D62DD}" destId="{46B427F5-E98E-4F1A-9DD6-00E00E933AB4}" srcOrd="0" destOrd="0" parTransId="{3E13A39E-B2D0-48FF-A674-405449D4D47F}" sibTransId="{A12A3ADA-7DEA-41D2-9A65-C36EFB1C1634}"/>
    <dgm:cxn modelId="{7FD65F39-30D8-4DA1-A038-F4F6B93B8C2A}" srcId="{40DEBFFC-8BE6-4A6E-A29E-E220885D62DD}" destId="{65F81AEC-1950-45C3-B171-4523EA29AB7B}" srcOrd="1" destOrd="0" parTransId="{BA5F83F0-39AD-41D1-98E9-346326AD0C96}" sibTransId="{4CFB3504-D4B0-4B21-AA94-6A5F89680D55}"/>
    <dgm:cxn modelId="{A52F6260-A7B3-46AA-9312-26BD493C3D04}" type="presOf" srcId="{7C49633B-CB72-4F3F-A5F9-B4BD280D4AB8}" destId="{1A944C27-2C58-4609-BC55-D164309117B3}" srcOrd="0" destOrd="0" presId="urn:microsoft.com/office/officeart/2005/8/layout/chevron1"/>
    <dgm:cxn modelId="{6E027F6F-A5F1-4DFD-B6C2-9691C0C0F458}" type="presOf" srcId="{46B427F5-E98E-4F1A-9DD6-00E00E933AB4}" destId="{AB8851E0-8A56-4650-B7AC-FDFACEF0B240}" srcOrd="0" destOrd="0" presId="urn:microsoft.com/office/officeart/2005/8/layout/chevron1"/>
    <dgm:cxn modelId="{12B5CCC0-F08D-4AD4-B2C3-1A2413CED3BB}" type="presOf" srcId="{65F81AEC-1950-45C3-B171-4523EA29AB7B}" destId="{32743348-AFFD-4B93-9544-686E40C80E37}" srcOrd="0" destOrd="0" presId="urn:microsoft.com/office/officeart/2005/8/layout/chevron1"/>
    <dgm:cxn modelId="{DA229BC7-B4FA-4AD2-92A6-7EF4CE394A2C}" type="presOf" srcId="{40DEBFFC-8BE6-4A6E-A29E-E220885D62DD}" destId="{61242983-5F5E-4A05-A670-8B1F3BA339DA}" srcOrd="0" destOrd="0" presId="urn:microsoft.com/office/officeart/2005/8/layout/chevron1"/>
    <dgm:cxn modelId="{3DC5612B-F2D2-4658-8701-68B826B6CBFE}" type="presParOf" srcId="{61242983-5F5E-4A05-A670-8B1F3BA339DA}" destId="{AB8851E0-8A56-4650-B7AC-FDFACEF0B240}" srcOrd="0" destOrd="0" presId="urn:microsoft.com/office/officeart/2005/8/layout/chevron1"/>
    <dgm:cxn modelId="{73D62DDD-7351-48AA-95EC-432515901076}" type="presParOf" srcId="{61242983-5F5E-4A05-A670-8B1F3BA339DA}" destId="{A3F01896-07E8-4BE9-9916-307768669DDA}" srcOrd="1" destOrd="0" presId="urn:microsoft.com/office/officeart/2005/8/layout/chevron1"/>
    <dgm:cxn modelId="{AD684A1F-8622-48FB-8248-D38D6CAD3645}" type="presParOf" srcId="{61242983-5F5E-4A05-A670-8B1F3BA339DA}" destId="{32743348-AFFD-4B93-9544-686E40C80E37}" srcOrd="2" destOrd="0" presId="urn:microsoft.com/office/officeart/2005/8/layout/chevron1"/>
    <dgm:cxn modelId="{72556C8A-CB23-4E9D-A8C0-0519237498CD}" type="presParOf" srcId="{61242983-5F5E-4A05-A670-8B1F3BA339DA}" destId="{D19DE8D1-96B0-4108-818B-AB1A8C45F673}" srcOrd="3" destOrd="0" presId="urn:microsoft.com/office/officeart/2005/8/layout/chevron1"/>
    <dgm:cxn modelId="{B1F62C4C-632B-478B-9229-96F50FEC0875}" type="presParOf" srcId="{61242983-5F5E-4A05-A670-8B1F3BA339DA}" destId="{1A944C27-2C58-4609-BC55-D164309117B3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52704B3-8CF3-47FA-B1D1-31A4BEC172D0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4_3" csCatId="accent4" phldr="1"/>
      <dgm:spPr/>
      <dgm:t>
        <a:bodyPr/>
        <a:lstStyle/>
        <a:p>
          <a:endParaRPr lang="ru-RU"/>
        </a:p>
      </dgm:t>
    </dgm:pt>
    <dgm:pt modelId="{11758232-4B2E-46FD-ACA2-88B1ACBFBE84}">
      <dgm:prSet phldrT="[Текст]"/>
      <dgm:spPr/>
      <dgm:t>
        <a:bodyPr/>
        <a:lstStyle/>
        <a:p>
          <a:r>
            <a:rPr lang="ru-RU" dirty="0"/>
            <a:t>ЭКСПЕРТИЗА РЕКЛАМНОГО АГЕНТСТВА</a:t>
          </a:r>
        </a:p>
      </dgm:t>
    </dgm:pt>
    <dgm:pt modelId="{9353E921-DA06-4945-B6B3-F8E370557F2A}" type="parTrans" cxnId="{22532C5A-F539-43E2-8E1C-DF669E2CEB24}">
      <dgm:prSet/>
      <dgm:spPr/>
      <dgm:t>
        <a:bodyPr/>
        <a:lstStyle/>
        <a:p>
          <a:endParaRPr lang="ru-RU"/>
        </a:p>
      </dgm:t>
    </dgm:pt>
    <dgm:pt modelId="{57F06D35-6B36-4BC5-B05B-1E331B31DDFD}" type="sibTrans" cxnId="{22532C5A-F539-43E2-8E1C-DF669E2CEB24}">
      <dgm:prSet/>
      <dgm:spPr/>
      <dgm:t>
        <a:bodyPr/>
        <a:lstStyle/>
        <a:p>
          <a:endParaRPr lang="ru-RU"/>
        </a:p>
      </dgm:t>
    </dgm:pt>
    <dgm:pt modelId="{0DEB94D4-69D5-40F7-920C-B414B9B3BD83}" type="pres">
      <dgm:prSet presAssocID="{852704B3-8CF3-47FA-B1D1-31A4BEC172D0}" presName="Name0" presStyleCnt="0">
        <dgm:presLayoutVars>
          <dgm:chMax val="7"/>
          <dgm:chPref val="5"/>
        </dgm:presLayoutVars>
      </dgm:prSet>
      <dgm:spPr/>
    </dgm:pt>
    <dgm:pt modelId="{9BC5CBDE-9AE9-4C7E-9F0D-DB0AF8058AF4}" type="pres">
      <dgm:prSet presAssocID="{852704B3-8CF3-47FA-B1D1-31A4BEC172D0}" presName="arrowNode" presStyleLbl="node1" presStyleIdx="0" presStyleCnt="1" custAng="8803626" custLinFactNeighborX="-9043" custLinFactNeighborY="11998"/>
      <dgm:spPr>
        <a:solidFill>
          <a:srgbClr val="FFD8DB"/>
        </a:solidFill>
      </dgm:spPr>
    </dgm:pt>
    <dgm:pt modelId="{D01F9B9F-E618-467C-9B42-EC76954B5DF3}" type="pres">
      <dgm:prSet presAssocID="{11758232-4B2E-46FD-ACA2-88B1ACBFBE84}" presName="txNode1" presStyleLbl="revTx" presStyleIdx="0" presStyleCnt="1" custScaleX="263610" custLinFactX="26568" custLinFactY="200000" custLinFactNeighborX="100000" custLinFactNeighborY="282936">
        <dgm:presLayoutVars>
          <dgm:bulletEnabled val="1"/>
        </dgm:presLayoutVars>
      </dgm:prSet>
      <dgm:spPr/>
    </dgm:pt>
  </dgm:ptLst>
  <dgm:cxnLst>
    <dgm:cxn modelId="{AC7E8E03-20D9-4512-911C-A386FEF6803C}" type="presOf" srcId="{11758232-4B2E-46FD-ACA2-88B1ACBFBE84}" destId="{D01F9B9F-E618-467C-9B42-EC76954B5DF3}" srcOrd="0" destOrd="0" presId="urn:microsoft.com/office/officeart/2009/3/layout/DescendingProcess"/>
    <dgm:cxn modelId="{22532C5A-F539-43E2-8E1C-DF669E2CEB24}" srcId="{852704B3-8CF3-47FA-B1D1-31A4BEC172D0}" destId="{11758232-4B2E-46FD-ACA2-88B1ACBFBE84}" srcOrd="0" destOrd="0" parTransId="{9353E921-DA06-4945-B6B3-F8E370557F2A}" sibTransId="{57F06D35-6B36-4BC5-B05B-1E331B31DDFD}"/>
    <dgm:cxn modelId="{5D8B787F-52A5-40D5-A925-CA8EAB578AE6}" type="presOf" srcId="{852704B3-8CF3-47FA-B1D1-31A4BEC172D0}" destId="{0DEB94D4-69D5-40F7-920C-B414B9B3BD83}" srcOrd="0" destOrd="0" presId="urn:microsoft.com/office/officeart/2009/3/layout/DescendingProcess"/>
    <dgm:cxn modelId="{93F4FA58-C345-4DB4-9FC5-2A7010520408}" type="presParOf" srcId="{0DEB94D4-69D5-40F7-920C-B414B9B3BD83}" destId="{9BC5CBDE-9AE9-4C7E-9F0D-DB0AF8058AF4}" srcOrd="0" destOrd="0" presId="urn:microsoft.com/office/officeart/2009/3/layout/DescendingProcess"/>
    <dgm:cxn modelId="{EDA38E5A-A6CB-43CA-AFD9-4917BA132A1C}" type="presParOf" srcId="{0DEB94D4-69D5-40F7-920C-B414B9B3BD83}" destId="{D01F9B9F-E618-467C-9B42-EC76954B5DF3}" srcOrd="1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D6D40D0-10B1-480F-9DD9-72E7448CB21E}" type="doc">
      <dgm:prSet loTypeId="urn:microsoft.com/office/officeart/2009/3/layout/PieProcess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EB05B5FB-4E71-4CC8-B192-A79A679D9D6D}">
      <dgm:prSet phldrT="[Текст]"/>
      <dgm:spPr/>
      <dgm:t>
        <a:bodyPr/>
        <a:lstStyle/>
        <a:p>
          <a:r>
            <a:rPr lang="ru-RU" dirty="0">
              <a:solidFill>
                <a:schemeClr val="bg1">
                  <a:lumMod val="75000"/>
                </a:schemeClr>
              </a:solidFill>
            </a:rPr>
            <a:t>КЛИЕНТ</a:t>
          </a:r>
        </a:p>
      </dgm:t>
    </dgm:pt>
    <dgm:pt modelId="{C7FB1A32-3A82-49B0-B6F6-3B64D3C89AD1}" type="parTrans" cxnId="{2105AE51-1454-4180-8807-B24E8C4DA847}">
      <dgm:prSet/>
      <dgm:spPr/>
      <dgm:t>
        <a:bodyPr/>
        <a:lstStyle/>
        <a:p>
          <a:endParaRPr lang="ru-RU"/>
        </a:p>
      </dgm:t>
    </dgm:pt>
    <dgm:pt modelId="{50DD7A2C-A9E9-4723-9DFD-2E08A6EAA373}" type="sibTrans" cxnId="{2105AE51-1454-4180-8807-B24E8C4DA847}">
      <dgm:prSet/>
      <dgm:spPr/>
      <dgm:t>
        <a:bodyPr/>
        <a:lstStyle/>
        <a:p>
          <a:endParaRPr lang="ru-RU"/>
        </a:p>
      </dgm:t>
    </dgm:pt>
    <dgm:pt modelId="{FEC4E638-F029-43F3-904A-7C4D15481E99}">
      <dgm:prSet phldrT="[Текст]"/>
      <dgm:spPr/>
      <dgm:t>
        <a:bodyPr/>
        <a:lstStyle/>
        <a:p>
          <a:r>
            <a:rPr lang="ru-RU" b="1" dirty="0"/>
            <a:t>-</a:t>
          </a:r>
          <a:r>
            <a:rPr lang="en-US" b="1" dirty="0"/>
            <a:t>KPI</a:t>
          </a:r>
          <a:endParaRPr lang="ru-RU" b="1" dirty="0"/>
        </a:p>
      </dgm:t>
    </dgm:pt>
    <dgm:pt modelId="{2F2FBDFC-516B-45A7-BCC9-0A0A2B6A2170}" type="parTrans" cxnId="{AA1AF8AE-5CD3-459E-B798-41ADCB28EB70}">
      <dgm:prSet/>
      <dgm:spPr/>
      <dgm:t>
        <a:bodyPr/>
        <a:lstStyle/>
        <a:p>
          <a:endParaRPr lang="ru-RU"/>
        </a:p>
      </dgm:t>
    </dgm:pt>
    <dgm:pt modelId="{4692DAB2-C6FE-402A-93A1-5C8FD0F295E2}" type="sibTrans" cxnId="{AA1AF8AE-5CD3-459E-B798-41ADCB28EB70}">
      <dgm:prSet/>
      <dgm:spPr/>
      <dgm:t>
        <a:bodyPr/>
        <a:lstStyle/>
        <a:p>
          <a:endParaRPr lang="ru-RU"/>
        </a:p>
      </dgm:t>
    </dgm:pt>
    <dgm:pt modelId="{BE593273-574D-4ABA-AC95-0EE432C5DFAC}">
      <dgm:prSet phldrT="[Текст]"/>
      <dgm:spPr/>
      <dgm:t>
        <a:bodyPr/>
        <a:lstStyle/>
        <a:p>
          <a:r>
            <a:rPr lang="ru-RU" dirty="0">
              <a:solidFill>
                <a:schemeClr val="bg1">
                  <a:lumMod val="75000"/>
                </a:schemeClr>
              </a:solidFill>
            </a:rPr>
            <a:t>СЕЛЛЕР</a:t>
          </a:r>
        </a:p>
      </dgm:t>
    </dgm:pt>
    <dgm:pt modelId="{75DD422E-FE04-44BB-8AD6-AF129FF148C1}" type="parTrans" cxnId="{0CBD9879-CBD7-4F98-870D-D7C0D7745AD1}">
      <dgm:prSet/>
      <dgm:spPr/>
      <dgm:t>
        <a:bodyPr/>
        <a:lstStyle/>
        <a:p>
          <a:endParaRPr lang="ru-RU"/>
        </a:p>
      </dgm:t>
    </dgm:pt>
    <dgm:pt modelId="{8B78E8F3-3145-498D-8782-AC62A1CD5EB7}" type="sibTrans" cxnId="{0CBD9879-CBD7-4F98-870D-D7C0D7745AD1}">
      <dgm:prSet/>
      <dgm:spPr/>
      <dgm:t>
        <a:bodyPr/>
        <a:lstStyle/>
        <a:p>
          <a:endParaRPr lang="ru-RU"/>
        </a:p>
      </dgm:t>
    </dgm:pt>
    <dgm:pt modelId="{FFCE3202-5B9B-4979-9A84-2A9C780840C6}">
      <dgm:prSet phldrT="[Текст]"/>
      <dgm:spPr/>
      <dgm:t>
        <a:bodyPr/>
        <a:lstStyle/>
        <a:p>
          <a:r>
            <a:rPr lang="ru-RU" b="1" dirty="0"/>
            <a:t>-РАСЧЕТЫ </a:t>
          </a:r>
        </a:p>
        <a:p>
          <a:r>
            <a:rPr lang="ru-RU" b="1" dirty="0"/>
            <a:t>-ТТ*</a:t>
          </a:r>
        </a:p>
      </dgm:t>
    </dgm:pt>
    <dgm:pt modelId="{ADFD78C2-5777-4C5D-9CF2-10DB3BC1476C}" type="parTrans" cxnId="{14B0F9FF-2EB0-4569-8A30-B9677A1252A3}">
      <dgm:prSet/>
      <dgm:spPr/>
      <dgm:t>
        <a:bodyPr/>
        <a:lstStyle/>
        <a:p>
          <a:endParaRPr lang="ru-RU"/>
        </a:p>
      </dgm:t>
    </dgm:pt>
    <dgm:pt modelId="{210A5066-0560-4D75-9F09-8C6FC02835BE}" type="sibTrans" cxnId="{14B0F9FF-2EB0-4569-8A30-B9677A1252A3}">
      <dgm:prSet/>
      <dgm:spPr/>
      <dgm:t>
        <a:bodyPr/>
        <a:lstStyle/>
        <a:p>
          <a:endParaRPr lang="ru-RU"/>
        </a:p>
      </dgm:t>
    </dgm:pt>
    <dgm:pt modelId="{EC4F9AE9-EF8C-4C1B-B85C-106847733ED7}">
      <dgm:prSet phldrT="[Текст]"/>
      <dgm:spPr/>
      <dgm:t>
        <a:bodyPr/>
        <a:lstStyle/>
        <a:p>
          <a:r>
            <a:rPr lang="ru-RU" dirty="0">
              <a:solidFill>
                <a:schemeClr val="bg1">
                  <a:lumMod val="75000"/>
                </a:schemeClr>
              </a:solidFill>
            </a:rPr>
            <a:t>АГЕНТСТВО</a:t>
          </a:r>
        </a:p>
      </dgm:t>
    </dgm:pt>
    <dgm:pt modelId="{D626ECFC-266C-4EBF-AD6D-66789340CE09}" type="parTrans" cxnId="{627D71FF-965A-4A3A-9330-0E9F903A572D}">
      <dgm:prSet/>
      <dgm:spPr/>
      <dgm:t>
        <a:bodyPr/>
        <a:lstStyle/>
        <a:p>
          <a:endParaRPr lang="ru-RU"/>
        </a:p>
      </dgm:t>
    </dgm:pt>
    <dgm:pt modelId="{6EC0B487-8525-4A41-9206-0AF919254C66}" type="sibTrans" cxnId="{627D71FF-965A-4A3A-9330-0E9F903A572D}">
      <dgm:prSet/>
      <dgm:spPr/>
      <dgm:t>
        <a:bodyPr/>
        <a:lstStyle/>
        <a:p>
          <a:endParaRPr lang="ru-RU"/>
        </a:p>
      </dgm:t>
    </dgm:pt>
    <dgm:pt modelId="{72879DB3-5ED9-4153-BF42-031A0BFC42DF}">
      <dgm:prSet phldrT="[Текст]"/>
      <dgm:spPr/>
      <dgm:t>
        <a:bodyPr/>
        <a:lstStyle/>
        <a:p>
          <a:r>
            <a:rPr lang="ru-RU" b="1" dirty="0"/>
            <a:t>-ЭКСПЕРТИЗА***</a:t>
          </a:r>
        </a:p>
        <a:p>
          <a:r>
            <a:rPr lang="ru-RU" b="1" dirty="0"/>
            <a:t>-КОММИТЫ</a:t>
          </a:r>
        </a:p>
      </dgm:t>
    </dgm:pt>
    <dgm:pt modelId="{753E3A51-E73D-4E01-8D51-630404CBD68D}" type="parTrans" cxnId="{6F1A9D92-D834-4ADE-8908-70D6711471EF}">
      <dgm:prSet/>
      <dgm:spPr/>
      <dgm:t>
        <a:bodyPr/>
        <a:lstStyle/>
        <a:p>
          <a:endParaRPr lang="ru-RU"/>
        </a:p>
      </dgm:t>
    </dgm:pt>
    <dgm:pt modelId="{20AE61DF-591A-48BF-A536-7E75705B751E}" type="sibTrans" cxnId="{6F1A9D92-D834-4ADE-8908-70D6711471EF}">
      <dgm:prSet/>
      <dgm:spPr/>
      <dgm:t>
        <a:bodyPr/>
        <a:lstStyle/>
        <a:p>
          <a:endParaRPr lang="ru-RU"/>
        </a:p>
      </dgm:t>
    </dgm:pt>
    <dgm:pt modelId="{C68792E2-95B9-49C6-AEDF-8B83B032D032}">
      <dgm:prSet phldrT="[Текст]"/>
      <dgm:spPr/>
      <dgm:t>
        <a:bodyPr/>
        <a:lstStyle/>
        <a:p>
          <a:r>
            <a:rPr lang="ru-RU" b="1" dirty="0"/>
            <a:t>-ИТОРИЯ ПРОЕКТА</a:t>
          </a:r>
        </a:p>
        <a:p>
          <a:r>
            <a:rPr lang="ru-RU" b="1" dirty="0"/>
            <a:t>-МОТИВАЦИЯ МП****</a:t>
          </a:r>
        </a:p>
      </dgm:t>
    </dgm:pt>
    <dgm:pt modelId="{D62C1E7E-B298-4444-A6EC-07C582FEE084}" type="parTrans" cxnId="{ACB545CA-9547-4E53-AA7D-B8D39FB70963}">
      <dgm:prSet/>
      <dgm:spPr/>
      <dgm:t>
        <a:bodyPr/>
        <a:lstStyle/>
        <a:p>
          <a:endParaRPr lang="ru-RU"/>
        </a:p>
      </dgm:t>
    </dgm:pt>
    <dgm:pt modelId="{75FF8601-75ED-419D-ACE6-705F1ADB4CE3}" type="sibTrans" cxnId="{ACB545CA-9547-4E53-AA7D-B8D39FB70963}">
      <dgm:prSet/>
      <dgm:spPr/>
      <dgm:t>
        <a:bodyPr/>
        <a:lstStyle/>
        <a:p>
          <a:endParaRPr lang="ru-RU"/>
        </a:p>
      </dgm:t>
    </dgm:pt>
    <dgm:pt modelId="{3E71A4EE-832A-4DEC-84E7-6CCCD190CC09}">
      <dgm:prSet phldrT="[Текст]"/>
      <dgm:spPr/>
      <dgm:t>
        <a:bodyPr/>
        <a:lstStyle/>
        <a:p>
          <a:r>
            <a:rPr lang="ru-RU" b="1" dirty="0"/>
            <a:t>-СКИДКИ</a:t>
          </a:r>
        </a:p>
      </dgm:t>
    </dgm:pt>
    <dgm:pt modelId="{A3360B6D-88A9-4EB4-AEC7-DEC067367369}" type="parTrans" cxnId="{B667924C-22F6-46E5-B44C-F3153A3D87AB}">
      <dgm:prSet/>
      <dgm:spPr/>
      <dgm:t>
        <a:bodyPr/>
        <a:lstStyle/>
        <a:p>
          <a:endParaRPr lang="ru-RU"/>
        </a:p>
      </dgm:t>
    </dgm:pt>
    <dgm:pt modelId="{5D8A1A96-0006-457D-A14D-6FFA267E7E49}" type="sibTrans" cxnId="{B667924C-22F6-46E5-B44C-F3153A3D87AB}">
      <dgm:prSet/>
      <dgm:spPr/>
      <dgm:t>
        <a:bodyPr/>
        <a:lstStyle/>
        <a:p>
          <a:endParaRPr lang="ru-RU"/>
        </a:p>
      </dgm:t>
    </dgm:pt>
    <dgm:pt modelId="{FD56A170-0F85-42BC-83B7-67BC9509570D}">
      <dgm:prSet phldrT="[Текст]"/>
      <dgm:spPr/>
      <dgm:t>
        <a:bodyPr/>
        <a:lstStyle/>
        <a:p>
          <a:r>
            <a:rPr lang="ru-RU" b="1" dirty="0"/>
            <a:t>-КОММИТЫ</a:t>
          </a:r>
        </a:p>
      </dgm:t>
    </dgm:pt>
    <dgm:pt modelId="{FFC91C1D-8AC4-473C-801E-596A0ED6F101}" type="parTrans" cxnId="{3F382AFF-6E0E-42F9-A598-3FEB3B60F3A7}">
      <dgm:prSet/>
      <dgm:spPr/>
      <dgm:t>
        <a:bodyPr/>
        <a:lstStyle/>
        <a:p>
          <a:endParaRPr lang="ru-RU"/>
        </a:p>
      </dgm:t>
    </dgm:pt>
    <dgm:pt modelId="{9283CA53-9A6A-4C5E-85DB-746A8935FD77}" type="sibTrans" cxnId="{3F382AFF-6E0E-42F9-A598-3FEB3B60F3A7}">
      <dgm:prSet/>
      <dgm:spPr/>
      <dgm:t>
        <a:bodyPr/>
        <a:lstStyle/>
        <a:p>
          <a:endParaRPr lang="ru-RU"/>
        </a:p>
      </dgm:t>
    </dgm:pt>
    <dgm:pt modelId="{F6759BFB-69AD-47CA-9B3F-5DC068242516}">
      <dgm:prSet phldrT="[Текст]"/>
      <dgm:spPr/>
      <dgm:t>
        <a:bodyPr/>
        <a:lstStyle/>
        <a:p>
          <a:pPr>
            <a:buFontTx/>
            <a:buAutoNum type="arabicPeriod"/>
          </a:pPr>
          <a:r>
            <a:rPr lang="ru-RU" b="1" dirty="0"/>
            <a:t>-ПИСЬМО БАИНГЧЕК**</a:t>
          </a:r>
        </a:p>
      </dgm:t>
    </dgm:pt>
    <dgm:pt modelId="{1967B3EC-AF1B-40FB-8760-1EB0E1A08ECE}" type="parTrans" cxnId="{6B436889-3CD6-4447-8753-66230E587978}">
      <dgm:prSet/>
      <dgm:spPr/>
      <dgm:t>
        <a:bodyPr/>
        <a:lstStyle/>
        <a:p>
          <a:endParaRPr lang="ru-RU"/>
        </a:p>
      </dgm:t>
    </dgm:pt>
    <dgm:pt modelId="{2041E781-3F4B-42A6-97F8-87C191134801}" type="sibTrans" cxnId="{6B436889-3CD6-4447-8753-66230E587978}">
      <dgm:prSet/>
      <dgm:spPr/>
      <dgm:t>
        <a:bodyPr/>
        <a:lstStyle/>
        <a:p>
          <a:endParaRPr lang="ru-RU"/>
        </a:p>
      </dgm:t>
    </dgm:pt>
    <dgm:pt modelId="{10231983-8A28-4810-8C67-35D951D71B96}" type="pres">
      <dgm:prSet presAssocID="{CD6D40D0-10B1-480F-9DD9-72E7448CB21E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</dgm:pt>
    <dgm:pt modelId="{1D4E8AA8-D5F1-4C63-A612-3A95E683945A}" type="pres">
      <dgm:prSet presAssocID="{EB05B5FB-4E71-4CC8-B192-A79A679D9D6D}" presName="ParentComposite" presStyleCnt="0"/>
      <dgm:spPr/>
    </dgm:pt>
    <dgm:pt modelId="{E5D5A2C3-0857-4DD2-A586-29293ECA4959}" type="pres">
      <dgm:prSet presAssocID="{EB05B5FB-4E71-4CC8-B192-A79A679D9D6D}" presName="Chord" presStyleLbl="bgShp" presStyleIdx="0" presStyleCnt="3"/>
      <dgm:spPr/>
    </dgm:pt>
    <dgm:pt modelId="{6D36DE4E-FDAD-4CD7-BD9F-D6E7D28F2FAB}" type="pres">
      <dgm:prSet presAssocID="{EB05B5FB-4E71-4CC8-B192-A79A679D9D6D}" presName="Pie" presStyleLbl="alignNode1" presStyleIdx="0" presStyleCnt="3"/>
      <dgm:spPr/>
    </dgm:pt>
    <dgm:pt modelId="{0CFF522F-5E3C-4B71-8D63-23BB592114E1}" type="pres">
      <dgm:prSet presAssocID="{EB05B5FB-4E71-4CC8-B192-A79A679D9D6D}" presName="Parent" presStyleLbl="revTx" presStyleIdx="0" presStyleCnt="6">
        <dgm:presLayoutVars>
          <dgm:chMax val="1"/>
          <dgm:chPref val="1"/>
          <dgm:bulletEnabled val="1"/>
        </dgm:presLayoutVars>
      </dgm:prSet>
      <dgm:spPr/>
    </dgm:pt>
    <dgm:pt modelId="{3FF24824-FF6E-424D-BC2C-745978C332D0}" type="pres">
      <dgm:prSet presAssocID="{4692DAB2-C6FE-402A-93A1-5C8FD0F295E2}" presName="negSibTrans" presStyleCnt="0"/>
      <dgm:spPr/>
    </dgm:pt>
    <dgm:pt modelId="{AA752947-F69E-42F2-86F3-AE1E46D31251}" type="pres">
      <dgm:prSet presAssocID="{EB05B5FB-4E71-4CC8-B192-A79A679D9D6D}" presName="composite" presStyleCnt="0"/>
      <dgm:spPr/>
    </dgm:pt>
    <dgm:pt modelId="{235E091C-F773-4104-95AB-33B07238596B}" type="pres">
      <dgm:prSet presAssocID="{EB05B5FB-4E71-4CC8-B192-A79A679D9D6D}" presName="Child" presStyleLbl="revTx" presStyleIdx="1" presStyleCnt="6">
        <dgm:presLayoutVars>
          <dgm:chMax val="0"/>
          <dgm:chPref val="0"/>
          <dgm:bulletEnabled val="1"/>
        </dgm:presLayoutVars>
      </dgm:prSet>
      <dgm:spPr/>
    </dgm:pt>
    <dgm:pt modelId="{17F6644F-D9D1-4133-9515-A45F2EE7FD15}" type="pres">
      <dgm:prSet presAssocID="{50DD7A2C-A9E9-4723-9DFD-2E08A6EAA373}" presName="sibTrans" presStyleCnt="0"/>
      <dgm:spPr/>
    </dgm:pt>
    <dgm:pt modelId="{50D4CE91-976C-43D7-9621-51B6002D074E}" type="pres">
      <dgm:prSet presAssocID="{BE593273-574D-4ABA-AC95-0EE432C5DFAC}" presName="ParentComposite" presStyleCnt="0"/>
      <dgm:spPr/>
    </dgm:pt>
    <dgm:pt modelId="{CF7FAB8F-6510-44AF-921E-0E198E55340C}" type="pres">
      <dgm:prSet presAssocID="{BE593273-574D-4ABA-AC95-0EE432C5DFAC}" presName="Chord" presStyleLbl="bgShp" presStyleIdx="1" presStyleCnt="3"/>
      <dgm:spPr/>
    </dgm:pt>
    <dgm:pt modelId="{F8346E08-BB0D-446D-A163-B170B630FB15}" type="pres">
      <dgm:prSet presAssocID="{BE593273-574D-4ABA-AC95-0EE432C5DFAC}" presName="Pie" presStyleLbl="alignNode1" presStyleIdx="1" presStyleCnt="3"/>
      <dgm:spPr/>
    </dgm:pt>
    <dgm:pt modelId="{06AAF4B9-E5BA-49BA-AC03-E360D38826EA}" type="pres">
      <dgm:prSet presAssocID="{BE593273-574D-4ABA-AC95-0EE432C5DFAC}" presName="Parent" presStyleLbl="revTx" presStyleIdx="2" presStyleCnt="6">
        <dgm:presLayoutVars>
          <dgm:chMax val="1"/>
          <dgm:chPref val="1"/>
          <dgm:bulletEnabled val="1"/>
        </dgm:presLayoutVars>
      </dgm:prSet>
      <dgm:spPr/>
    </dgm:pt>
    <dgm:pt modelId="{88B818FC-C47B-44F9-80FC-AF1E672BB48F}" type="pres">
      <dgm:prSet presAssocID="{210A5066-0560-4D75-9F09-8C6FC02835BE}" presName="negSibTrans" presStyleCnt="0"/>
      <dgm:spPr/>
    </dgm:pt>
    <dgm:pt modelId="{872CC62C-8837-466B-B5CF-9AE4F9C2C9C7}" type="pres">
      <dgm:prSet presAssocID="{BE593273-574D-4ABA-AC95-0EE432C5DFAC}" presName="composite" presStyleCnt="0"/>
      <dgm:spPr/>
    </dgm:pt>
    <dgm:pt modelId="{5CEC3A95-AA0F-4B06-BF69-FAB66CBCF960}" type="pres">
      <dgm:prSet presAssocID="{BE593273-574D-4ABA-AC95-0EE432C5DFAC}" presName="Child" presStyleLbl="revTx" presStyleIdx="3" presStyleCnt="6">
        <dgm:presLayoutVars>
          <dgm:chMax val="0"/>
          <dgm:chPref val="0"/>
          <dgm:bulletEnabled val="1"/>
        </dgm:presLayoutVars>
      </dgm:prSet>
      <dgm:spPr/>
    </dgm:pt>
    <dgm:pt modelId="{110651BC-0BDE-4C24-A2AD-B4C4877EED5D}" type="pres">
      <dgm:prSet presAssocID="{8B78E8F3-3145-498D-8782-AC62A1CD5EB7}" presName="sibTrans" presStyleCnt="0"/>
      <dgm:spPr/>
    </dgm:pt>
    <dgm:pt modelId="{DCCA75CA-9240-4966-B231-9B11E6FCB98B}" type="pres">
      <dgm:prSet presAssocID="{EC4F9AE9-EF8C-4C1B-B85C-106847733ED7}" presName="ParentComposite" presStyleCnt="0"/>
      <dgm:spPr/>
    </dgm:pt>
    <dgm:pt modelId="{F7068428-FA4F-4E61-94A9-AE52ADFEA857}" type="pres">
      <dgm:prSet presAssocID="{EC4F9AE9-EF8C-4C1B-B85C-106847733ED7}" presName="Chord" presStyleLbl="bgShp" presStyleIdx="2" presStyleCnt="3"/>
      <dgm:spPr/>
    </dgm:pt>
    <dgm:pt modelId="{34E4D178-FD8B-408E-B1FC-2239D2472EAF}" type="pres">
      <dgm:prSet presAssocID="{EC4F9AE9-EF8C-4C1B-B85C-106847733ED7}" presName="Pie" presStyleLbl="alignNode1" presStyleIdx="2" presStyleCnt="3"/>
      <dgm:spPr/>
    </dgm:pt>
    <dgm:pt modelId="{BA25E8FA-4457-4DA4-AFC1-D6F1FBC3AA8F}" type="pres">
      <dgm:prSet presAssocID="{EC4F9AE9-EF8C-4C1B-B85C-106847733ED7}" presName="Parent" presStyleLbl="revTx" presStyleIdx="4" presStyleCnt="6">
        <dgm:presLayoutVars>
          <dgm:chMax val="1"/>
          <dgm:chPref val="1"/>
          <dgm:bulletEnabled val="1"/>
        </dgm:presLayoutVars>
      </dgm:prSet>
      <dgm:spPr/>
    </dgm:pt>
    <dgm:pt modelId="{DF5D6602-379A-48B2-8F85-55BFB53F67B0}" type="pres">
      <dgm:prSet presAssocID="{20AE61DF-591A-48BF-A536-7E75705B751E}" presName="negSibTrans" presStyleCnt="0"/>
      <dgm:spPr/>
    </dgm:pt>
    <dgm:pt modelId="{8F8EF8DD-A005-4986-BB26-7634AC3BA483}" type="pres">
      <dgm:prSet presAssocID="{EC4F9AE9-EF8C-4C1B-B85C-106847733ED7}" presName="composite" presStyleCnt="0"/>
      <dgm:spPr/>
    </dgm:pt>
    <dgm:pt modelId="{92F2C7D5-9B25-4B9E-98C0-D2395B47FE02}" type="pres">
      <dgm:prSet presAssocID="{EC4F9AE9-EF8C-4C1B-B85C-106847733ED7}" presName="Child" presStyleLbl="revTx" presStyleIdx="5" presStyleCnt="6" custScaleX="175157">
        <dgm:presLayoutVars>
          <dgm:chMax val="0"/>
          <dgm:chPref val="0"/>
          <dgm:bulletEnabled val="1"/>
        </dgm:presLayoutVars>
      </dgm:prSet>
      <dgm:spPr/>
    </dgm:pt>
  </dgm:ptLst>
  <dgm:cxnLst>
    <dgm:cxn modelId="{97950634-6DB9-40AF-AEA3-B247ACD762FE}" type="presOf" srcId="{FFCE3202-5B9B-4979-9A84-2A9C780840C6}" destId="{5CEC3A95-AA0F-4B06-BF69-FAB66CBCF960}" srcOrd="0" destOrd="0" presId="urn:microsoft.com/office/officeart/2009/3/layout/PieProcess"/>
    <dgm:cxn modelId="{0CC57F34-F046-49C8-AD75-FB952C256A53}" type="presOf" srcId="{72879DB3-5ED9-4153-BF42-031A0BFC42DF}" destId="{92F2C7D5-9B25-4B9E-98C0-D2395B47FE02}" srcOrd="0" destOrd="0" presId="urn:microsoft.com/office/officeart/2009/3/layout/PieProcess"/>
    <dgm:cxn modelId="{F9B2205D-28A5-43EA-89E0-302BF2CD67E8}" type="presOf" srcId="{EB05B5FB-4E71-4CC8-B192-A79A679D9D6D}" destId="{0CFF522F-5E3C-4B71-8D63-23BB592114E1}" srcOrd="0" destOrd="0" presId="urn:microsoft.com/office/officeart/2009/3/layout/PieProcess"/>
    <dgm:cxn modelId="{B5C91C4A-7ED7-4DE9-A338-8B8B7273B7F8}" type="presOf" srcId="{FD56A170-0F85-42BC-83B7-67BC9509570D}" destId="{235E091C-F773-4104-95AB-33B07238596B}" srcOrd="0" destOrd="2" presId="urn:microsoft.com/office/officeart/2009/3/layout/PieProcess"/>
    <dgm:cxn modelId="{B667924C-22F6-46E5-B44C-F3153A3D87AB}" srcId="{EB05B5FB-4E71-4CC8-B192-A79A679D9D6D}" destId="{3E71A4EE-832A-4DEC-84E7-6CCCD190CC09}" srcOrd="1" destOrd="0" parTransId="{A3360B6D-88A9-4EB4-AEC7-DEC067367369}" sibTransId="{5D8A1A96-0006-457D-A14D-6FFA267E7E49}"/>
    <dgm:cxn modelId="{A7A7DE4F-9FA5-47A2-BEDC-87C432A40DBD}" type="presOf" srcId="{FEC4E638-F029-43F3-904A-7C4D15481E99}" destId="{235E091C-F773-4104-95AB-33B07238596B}" srcOrd="0" destOrd="0" presId="urn:microsoft.com/office/officeart/2009/3/layout/PieProcess"/>
    <dgm:cxn modelId="{2105AE51-1454-4180-8807-B24E8C4DA847}" srcId="{CD6D40D0-10B1-480F-9DD9-72E7448CB21E}" destId="{EB05B5FB-4E71-4CC8-B192-A79A679D9D6D}" srcOrd="0" destOrd="0" parTransId="{C7FB1A32-3A82-49B0-B6F6-3B64D3C89AD1}" sibTransId="{50DD7A2C-A9E9-4723-9DFD-2E08A6EAA373}"/>
    <dgm:cxn modelId="{4DD7E775-E14D-46F8-8A47-B16FA08971CC}" type="presOf" srcId="{3E71A4EE-832A-4DEC-84E7-6CCCD190CC09}" destId="{235E091C-F773-4104-95AB-33B07238596B}" srcOrd="0" destOrd="1" presId="urn:microsoft.com/office/officeart/2009/3/layout/PieProcess"/>
    <dgm:cxn modelId="{0CBD9879-CBD7-4F98-870D-D7C0D7745AD1}" srcId="{CD6D40D0-10B1-480F-9DD9-72E7448CB21E}" destId="{BE593273-574D-4ABA-AC95-0EE432C5DFAC}" srcOrd="1" destOrd="0" parTransId="{75DD422E-FE04-44BB-8AD6-AF129FF148C1}" sibTransId="{8B78E8F3-3145-498D-8782-AC62A1CD5EB7}"/>
    <dgm:cxn modelId="{6B436889-3CD6-4447-8753-66230E587978}" srcId="{BE593273-574D-4ABA-AC95-0EE432C5DFAC}" destId="{F6759BFB-69AD-47CA-9B3F-5DC068242516}" srcOrd="1" destOrd="0" parTransId="{1967B3EC-AF1B-40FB-8760-1EB0E1A08ECE}" sibTransId="{2041E781-3F4B-42A6-97F8-87C191134801}"/>
    <dgm:cxn modelId="{6F1A9D92-D834-4ADE-8908-70D6711471EF}" srcId="{EC4F9AE9-EF8C-4C1B-B85C-106847733ED7}" destId="{72879DB3-5ED9-4153-BF42-031A0BFC42DF}" srcOrd="0" destOrd="0" parTransId="{753E3A51-E73D-4E01-8D51-630404CBD68D}" sibTransId="{20AE61DF-591A-48BF-A536-7E75705B751E}"/>
    <dgm:cxn modelId="{AA1AF8AE-5CD3-459E-B798-41ADCB28EB70}" srcId="{EB05B5FB-4E71-4CC8-B192-A79A679D9D6D}" destId="{FEC4E638-F029-43F3-904A-7C4D15481E99}" srcOrd="0" destOrd="0" parTransId="{2F2FBDFC-516B-45A7-BCC9-0A0A2B6A2170}" sibTransId="{4692DAB2-C6FE-402A-93A1-5C8FD0F295E2}"/>
    <dgm:cxn modelId="{01DBC1B7-4762-40F1-825E-A8FF78AA826E}" type="presOf" srcId="{C68792E2-95B9-49C6-AEDF-8B83B032D032}" destId="{92F2C7D5-9B25-4B9E-98C0-D2395B47FE02}" srcOrd="0" destOrd="1" presId="urn:microsoft.com/office/officeart/2009/3/layout/PieProcess"/>
    <dgm:cxn modelId="{102AD1BA-29FC-41E7-B61C-7BECCEAC199C}" type="presOf" srcId="{F6759BFB-69AD-47CA-9B3F-5DC068242516}" destId="{5CEC3A95-AA0F-4B06-BF69-FAB66CBCF960}" srcOrd="0" destOrd="1" presId="urn:microsoft.com/office/officeart/2009/3/layout/PieProcess"/>
    <dgm:cxn modelId="{ACB545CA-9547-4E53-AA7D-B8D39FB70963}" srcId="{EC4F9AE9-EF8C-4C1B-B85C-106847733ED7}" destId="{C68792E2-95B9-49C6-AEDF-8B83B032D032}" srcOrd="1" destOrd="0" parTransId="{D62C1E7E-B298-4444-A6EC-07C582FEE084}" sibTransId="{75FF8601-75ED-419D-ACE6-705F1ADB4CE3}"/>
    <dgm:cxn modelId="{ACC9E2D6-A932-448D-9F12-B6BFDEB749EB}" type="presOf" srcId="{BE593273-574D-4ABA-AC95-0EE432C5DFAC}" destId="{06AAF4B9-E5BA-49BA-AC03-E360D38826EA}" srcOrd="0" destOrd="0" presId="urn:microsoft.com/office/officeart/2009/3/layout/PieProcess"/>
    <dgm:cxn modelId="{54639CE5-4CB9-4335-AA9C-F4DDD6E18359}" type="presOf" srcId="{EC4F9AE9-EF8C-4C1B-B85C-106847733ED7}" destId="{BA25E8FA-4457-4DA4-AFC1-D6F1FBC3AA8F}" srcOrd="0" destOrd="0" presId="urn:microsoft.com/office/officeart/2009/3/layout/PieProcess"/>
    <dgm:cxn modelId="{BE053EE7-822E-4645-AFDC-0B1D3636B55F}" type="presOf" srcId="{CD6D40D0-10B1-480F-9DD9-72E7448CB21E}" destId="{10231983-8A28-4810-8C67-35D951D71B96}" srcOrd="0" destOrd="0" presId="urn:microsoft.com/office/officeart/2009/3/layout/PieProcess"/>
    <dgm:cxn modelId="{3F382AFF-6E0E-42F9-A598-3FEB3B60F3A7}" srcId="{EB05B5FB-4E71-4CC8-B192-A79A679D9D6D}" destId="{FD56A170-0F85-42BC-83B7-67BC9509570D}" srcOrd="2" destOrd="0" parTransId="{FFC91C1D-8AC4-473C-801E-596A0ED6F101}" sibTransId="{9283CA53-9A6A-4C5E-85DB-746A8935FD77}"/>
    <dgm:cxn modelId="{627D71FF-965A-4A3A-9330-0E9F903A572D}" srcId="{CD6D40D0-10B1-480F-9DD9-72E7448CB21E}" destId="{EC4F9AE9-EF8C-4C1B-B85C-106847733ED7}" srcOrd="2" destOrd="0" parTransId="{D626ECFC-266C-4EBF-AD6D-66789340CE09}" sibTransId="{6EC0B487-8525-4A41-9206-0AF919254C66}"/>
    <dgm:cxn modelId="{14B0F9FF-2EB0-4569-8A30-B9677A1252A3}" srcId="{BE593273-574D-4ABA-AC95-0EE432C5DFAC}" destId="{FFCE3202-5B9B-4979-9A84-2A9C780840C6}" srcOrd="0" destOrd="0" parTransId="{ADFD78C2-5777-4C5D-9CF2-10DB3BC1476C}" sibTransId="{210A5066-0560-4D75-9F09-8C6FC02835BE}"/>
    <dgm:cxn modelId="{C97276DD-A5E5-4560-82BA-A75F1DBB2846}" type="presParOf" srcId="{10231983-8A28-4810-8C67-35D951D71B96}" destId="{1D4E8AA8-D5F1-4C63-A612-3A95E683945A}" srcOrd="0" destOrd="0" presId="urn:microsoft.com/office/officeart/2009/3/layout/PieProcess"/>
    <dgm:cxn modelId="{6894F531-B236-43E0-BC73-F5B9B9A54314}" type="presParOf" srcId="{1D4E8AA8-D5F1-4C63-A612-3A95E683945A}" destId="{E5D5A2C3-0857-4DD2-A586-29293ECA4959}" srcOrd="0" destOrd="0" presId="urn:microsoft.com/office/officeart/2009/3/layout/PieProcess"/>
    <dgm:cxn modelId="{62B8FFB3-EE0F-42CA-BC3E-EE3325095158}" type="presParOf" srcId="{1D4E8AA8-D5F1-4C63-A612-3A95E683945A}" destId="{6D36DE4E-FDAD-4CD7-BD9F-D6E7D28F2FAB}" srcOrd="1" destOrd="0" presId="urn:microsoft.com/office/officeart/2009/3/layout/PieProcess"/>
    <dgm:cxn modelId="{0F4130FC-59DF-417B-A652-694A6C16670C}" type="presParOf" srcId="{1D4E8AA8-D5F1-4C63-A612-3A95E683945A}" destId="{0CFF522F-5E3C-4B71-8D63-23BB592114E1}" srcOrd="2" destOrd="0" presId="urn:microsoft.com/office/officeart/2009/3/layout/PieProcess"/>
    <dgm:cxn modelId="{22814E39-CC06-4837-A6C6-000D06F84AA8}" type="presParOf" srcId="{10231983-8A28-4810-8C67-35D951D71B96}" destId="{3FF24824-FF6E-424D-BC2C-745978C332D0}" srcOrd="1" destOrd="0" presId="urn:microsoft.com/office/officeart/2009/3/layout/PieProcess"/>
    <dgm:cxn modelId="{E72F55F9-DFED-4C3A-A5FF-FDDB14B0A55F}" type="presParOf" srcId="{10231983-8A28-4810-8C67-35D951D71B96}" destId="{AA752947-F69E-42F2-86F3-AE1E46D31251}" srcOrd="2" destOrd="0" presId="urn:microsoft.com/office/officeart/2009/3/layout/PieProcess"/>
    <dgm:cxn modelId="{0E0E7667-56B8-4877-9339-9A413EDF58A2}" type="presParOf" srcId="{AA752947-F69E-42F2-86F3-AE1E46D31251}" destId="{235E091C-F773-4104-95AB-33B07238596B}" srcOrd="0" destOrd="0" presId="urn:microsoft.com/office/officeart/2009/3/layout/PieProcess"/>
    <dgm:cxn modelId="{FA87A20D-3FEA-437F-AE48-254802778912}" type="presParOf" srcId="{10231983-8A28-4810-8C67-35D951D71B96}" destId="{17F6644F-D9D1-4133-9515-A45F2EE7FD15}" srcOrd="3" destOrd="0" presId="urn:microsoft.com/office/officeart/2009/3/layout/PieProcess"/>
    <dgm:cxn modelId="{49548A8F-7EC2-4AE9-84E2-F358E1A0E156}" type="presParOf" srcId="{10231983-8A28-4810-8C67-35D951D71B96}" destId="{50D4CE91-976C-43D7-9621-51B6002D074E}" srcOrd="4" destOrd="0" presId="urn:microsoft.com/office/officeart/2009/3/layout/PieProcess"/>
    <dgm:cxn modelId="{52CA1A63-871F-4979-B9F9-ED18CB933EE1}" type="presParOf" srcId="{50D4CE91-976C-43D7-9621-51B6002D074E}" destId="{CF7FAB8F-6510-44AF-921E-0E198E55340C}" srcOrd="0" destOrd="0" presId="urn:microsoft.com/office/officeart/2009/3/layout/PieProcess"/>
    <dgm:cxn modelId="{08A7DE1F-C9DF-4944-9E3D-22EAAD7E517B}" type="presParOf" srcId="{50D4CE91-976C-43D7-9621-51B6002D074E}" destId="{F8346E08-BB0D-446D-A163-B170B630FB15}" srcOrd="1" destOrd="0" presId="urn:microsoft.com/office/officeart/2009/3/layout/PieProcess"/>
    <dgm:cxn modelId="{CB04CBDF-704E-4D81-B491-BD4327C93C85}" type="presParOf" srcId="{50D4CE91-976C-43D7-9621-51B6002D074E}" destId="{06AAF4B9-E5BA-49BA-AC03-E360D38826EA}" srcOrd="2" destOrd="0" presId="urn:microsoft.com/office/officeart/2009/3/layout/PieProcess"/>
    <dgm:cxn modelId="{7E3FEC1E-C156-472E-A9FC-394EDDE5375F}" type="presParOf" srcId="{10231983-8A28-4810-8C67-35D951D71B96}" destId="{88B818FC-C47B-44F9-80FC-AF1E672BB48F}" srcOrd="5" destOrd="0" presId="urn:microsoft.com/office/officeart/2009/3/layout/PieProcess"/>
    <dgm:cxn modelId="{566466C9-D02D-445D-B9AF-5B079C478C79}" type="presParOf" srcId="{10231983-8A28-4810-8C67-35D951D71B96}" destId="{872CC62C-8837-466B-B5CF-9AE4F9C2C9C7}" srcOrd="6" destOrd="0" presId="urn:microsoft.com/office/officeart/2009/3/layout/PieProcess"/>
    <dgm:cxn modelId="{F20934DE-973E-4A59-80B9-CD62D524F1C2}" type="presParOf" srcId="{872CC62C-8837-466B-B5CF-9AE4F9C2C9C7}" destId="{5CEC3A95-AA0F-4B06-BF69-FAB66CBCF960}" srcOrd="0" destOrd="0" presId="urn:microsoft.com/office/officeart/2009/3/layout/PieProcess"/>
    <dgm:cxn modelId="{6A5ED355-178B-4728-AA2E-8421811D3BFF}" type="presParOf" srcId="{10231983-8A28-4810-8C67-35D951D71B96}" destId="{110651BC-0BDE-4C24-A2AD-B4C4877EED5D}" srcOrd="7" destOrd="0" presId="urn:microsoft.com/office/officeart/2009/3/layout/PieProcess"/>
    <dgm:cxn modelId="{92711037-9FD0-4DAF-B14B-4EB2914BC417}" type="presParOf" srcId="{10231983-8A28-4810-8C67-35D951D71B96}" destId="{DCCA75CA-9240-4966-B231-9B11E6FCB98B}" srcOrd="8" destOrd="0" presId="urn:microsoft.com/office/officeart/2009/3/layout/PieProcess"/>
    <dgm:cxn modelId="{3ACEF36E-563D-479A-9F6C-2BC38A86363B}" type="presParOf" srcId="{DCCA75CA-9240-4966-B231-9B11E6FCB98B}" destId="{F7068428-FA4F-4E61-94A9-AE52ADFEA857}" srcOrd="0" destOrd="0" presId="urn:microsoft.com/office/officeart/2009/3/layout/PieProcess"/>
    <dgm:cxn modelId="{70D2108F-7A8C-47FD-B3C7-4DC0E3071BD9}" type="presParOf" srcId="{DCCA75CA-9240-4966-B231-9B11E6FCB98B}" destId="{34E4D178-FD8B-408E-B1FC-2239D2472EAF}" srcOrd="1" destOrd="0" presId="urn:microsoft.com/office/officeart/2009/3/layout/PieProcess"/>
    <dgm:cxn modelId="{DC1FED5F-11D3-43A8-88FC-2CCF2308E8F3}" type="presParOf" srcId="{DCCA75CA-9240-4966-B231-9B11E6FCB98B}" destId="{BA25E8FA-4457-4DA4-AFC1-D6F1FBC3AA8F}" srcOrd="2" destOrd="0" presId="urn:microsoft.com/office/officeart/2009/3/layout/PieProcess"/>
    <dgm:cxn modelId="{D0E78D70-EE1D-47AF-8983-18AC6AB74AD7}" type="presParOf" srcId="{10231983-8A28-4810-8C67-35D951D71B96}" destId="{DF5D6602-379A-48B2-8F85-55BFB53F67B0}" srcOrd="9" destOrd="0" presId="urn:microsoft.com/office/officeart/2009/3/layout/PieProcess"/>
    <dgm:cxn modelId="{459377ED-2FF9-4CA8-9BF4-47F8B02B1E82}" type="presParOf" srcId="{10231983-8A28-4810-8C67-35D951D71B96}" destId="{8F8EF8DD-A005-4986-BB26-7634AC3BA483}" srcOrd="10" destOrd="0" presId="urn:microsoft.com/office/officeart/2009/3/layout/PieProcess"/>
    <dgm:cxn modelId="{A5596AAF-4176-4846-B0B4-E9168A6D4A13}" type="presParOf" srcId="{8F8EF8DD-A005-4986-BB26-7634AC3BA483}" destId="{92F2C7D5-9B25-4B9E-98C0-D2395B47FE02}" srcOrd="0" destOrd="0" presId="urn:microsoft.com/office/officeart/2009/3/layout/Pi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CE6949C-A75C-4322-BF67-BFE47FCB40CF}" type="doc">
      <dgm:prSet loTypeId="urn:microsoft.com/office/officeart/2009/3/layout/RandomtoResultProcess" loCatId="process" qsTypeId="urn:microsoft.com/office/officeart/2005/8/quickstyle/simple2" qsCatId="simple" csTypeId="urn:microsoft.com/office/officeart/2005/8/colors/accent0_3" csCatId="mainScheme" phldr="1"/>
      <dgm:spPr/>
    </dgm:pt>
    <dgm:pt modelId="{1EF9F76C-3E6E-4CE4-BE58-48FD331BF633}">
      <dgm:prSet phldrT="[Текст]"/>
      <dgm:spPr/>
      <dgm:t>
        <a:bodyPr/>
        <a:lstStyle/>
        <a:p>
          <a:r>
            <a:rPr lang="ru-RU" dirty="0"/>
            <a:t>Выбираем позиции</a:t>
          </a:r>
        </a:p>
      </dgm:t>
    </dgm:pt>
    <dgm:pt modelId="{402EEFCF-18A3-4F9C-ABFC-D6DEEA7D7BAB}" type="parTrans" cxnId="{38630778-2B73-4737-8337-3B1AEBC2CBBB}">
      <dgm:prSet/>
      <dgm:spPr/>
      <dgm:t>
        <a:bodyPr/>
        <a:lstStyle/>
        <a:p>
          <a:endParaRPr lang="ru-RU"/>
        </a:p>
      </dgm:t>
    </dgm:pt>
    <dgm:pt modelId="{3AB5384C-FA84-494B-8B5B-FA7B65C9EFD0}" type="sibTrans" cxnId="{38630778-2B73-4737-8337-3B1AEBC2CBBB}">
      <dgm:prSet/>
      <dgm:spPr/>
      <dgm:t>
        <a:bodyPr/>
        <a:lstStyle/>
        <a:p>
          <a:endParaRPr lang="ru-RU"/>
        </a:p>
      </dgm:t>
    </dgm:pt>
    <dgm:pt modelId="{0A614FFB-DBFA-4176-8885-E4B283E6BD86}">
      <dgm:prSet phldrT="[Текст]"/>
      <dgm:spPr>
        <a:solidFill>
          <a:srgbClr val="CCFFCC"/>
        </a:solidFill>
      </dgm:spPr>
      <dgm:t>
        <a:bodyPr/>
        <a:lstStyle/>
        <a:p>
          <a:r>
            <a:rPr lang="ru-RU" b="1" dirty="0">
              <a:solidFill>
                <a:schemeClr val="bg1">
                  <a:lumMod val="50000"/>
                </a:schemeClr>
              </a:solidFill>
            </a:rPr>
            <a:t>ПЛАН ГОТОВ</a:t>
          </a:r>
        </a:p>
      </dgm:t>
    </dgm:pt>
    <dgm:pt modelId="{88149B82-503D-49B1-85AE-43DDC7E58338}" type="parTrans" cxnId="{F6725F3E-CB36-4169-9721-74E6CD5E95FE}">
      <dgm:prSet/>
      <dgm:spPr/>
      <dgm:t>
        <a:bodyPr/>
        <a:lstStyle/>
        <a:p>
          <a:endParaRPr lang="ru-RU"/>
        </a:p>
      </dgm:t>
    </dgm:pt>
    <dgm:pt modelId="{50175FD8-BB57-4D69-8FA6-74FCB3635741}" type="sibTrans" cxnId="{F6725F3E-CB36-4169-9721-74E6CD5E95FE}">
      <dgm:prSet/>
      <dgm:spPr/>
      <dgm:t>
        <a:bodyPr/>
        <a:lstStyle/>
        <a:p>
          <a:endParaRPr lang="ru-RU"/>
        </a:p>
      </dgm:t>
    </dgm:pt>
    <dgm:pt modelId="{6161C3B8-F93C-4804-B71C-1CDC481FF718}" type="pres">
      <dgm:prSet presAssocID="{0CE6949C-A75C-4322-BF67-BFE47FCB40CF}" presName="Name0" presStyleCnt="0">
        <dgm:presLayoutVars>
          <dgm:dir/>
          <dgm:animOne val="branch"/>
          <dgm:animLvl val="lvl"/>
        </dgm:presLayoutVars>
      </dgm:prSet>
      <dgm:spPr/>
    </dgm:pt>
    <dgm:pt modelId="{7257CC7F-5312-4A3F-8A32-D3CCBC28DB35}" type="pres">
      <dgm:prSet presAssocID="{1EF9F76C-3E6E-4CE4-BE58-48FD331BF633}" presName="chaos" presStyleCnt="0"/>
      <dgm:spPr/>
    </dgm:pt>
    <dgm:pt modelId="{FAD775E1-6D84-44BA-AC0E-BFB8FEC6BF56}" type="pres">
      <dgm:prSet presAssocID="{1EF9F76C-3E6E-4CE4-BE58-48FD331BF633}" presName="parTx1" presStyleLbl="revTx" presStyleIdx="0" presStyleCnt="1"/>
      <dgm:spPr/>
    </dgm:pt>
    <dgm:pt modelId="{7F75E68E-DB16-4058-81E5-34F937A10594}" type="pres">
      <dgm:prSet presAssocID="{1EF9F76C-3E6E-4CE4-BE58-48FD331BF633}" presName="c1" presStyleLbl="node1" presStyleIdx="0" presStyleCnt="19"/>
      <dgm:spPr/>
    </dgm:pt>
    <dgm:pt modelId="{82C0178B-4307-4D67-BF23-427F5BD9FD57}" type="pres">
      <dgm:prSet presAssocID="{1EF9F76C-3E6E-4CE4-BE58-48FD331BF633}" presName="c2" presStyleLbl="node1" presStyleIdx="1" presStyleCnt="19"/>
      <dgm:spPr/>
    </dgm:pt>
    <dgm:pt modelId="{C7A75913-8E7F-4EB9-AB36-1A7B5306CD8F}" type="pres">
      <dgm:prSet presAssocID="{1EF9F76C-3E6E-4CE4-BE58-48FD331BF633}" presName="c3" presStyleLbl="node1" presStyleIdx="2" presStyleCnt="19"/>
      <dgm:spPr/>
    </dgm:pt>
    <dgm:pt modelId="{17DFA952-DB38-4BC8-A28E-18F55B4688BE}" type="pres">
      <dgm:prSet presAssocID="{1EF9F76C-3E6E-4CE4-BE58-48FD331BF633}" presName="c4" presStyleLbl="node1" presStyleIdx="3" presStyleCnt="19"/>
      <dgm:spPr/>
    </dgm:pt>
    <dgm:pt modelId="{55DBF157-7ECD-4B27-928E-EF48FD8C0E74}" type="pres">
      <dgm:prSet presAssocID="{1EF9F76C-3E6E-4CE4-BE58-48FD331BF633}" presName="c5" presStyleLbl="node1" presStyleIdx="4" presStyleCnt="19"/>
      <dgm:spPr/>
    </dgm:pt>
    <dgm:pt modelId="{E515B4CF-0CFF-4DF1-B4DE-B25A602324A9}" type="pres">
      <dgm:prSet presAssocID="{1EF9F76C-3E6E-4CE4-BE58-48FD331BF633}" presName="c6" presStyleLbl="node1" presStyleIdx="5" presStyleCnt="19"/>
      <dgm:spPr/>
    </dgm:pt>
    <dgm:pt modelId="{15E6749D-D459-4BD9-BD6C-CF14BB4226AC}" type="pres">
      <dgm:prSet presAssocID="{1EF9F76C-3E6E-4CE4-BE58-48FD331BF633}" presName="c7" presStyleLbl="node1" presStyleIdx="6" presStyleCnt="19"/>
      <dgm:spPr/>
    </dgm:pt>
    <dgm:pt modelId="{388C1400-0719-4E55-A6C6-47C8C5033C7B}" type="pres">
      <dgm:prSet presAssocID="{1EF9F76C-3E6E-4CE4-BE58-48FD331BF633}" presName="c8" presStyleLbl="node1" presStyleIdx="7" presStyleCnt="19"/>
      <dgm:spPr/>
    </dgm:pt>
    <dgm:pt modelId="{2769B90C-E8E5-4B82-89AA-42633BADFF11}" type="pres">
      <dgm:prSet presAssocID="{1EF9F76C-3E6E-4CE4-BE58-48FD331BF633}" presName="c9" presStyleLbl="node1" presStyleIdx="8" presStyleCnt="19"/>
      <dgm:spPr/>
    </dgm:pt>
    <dgm:pt modelId="{F79CBB7D-601D-47B2-BBA3-0F9592232989}" type="pres">
      <dgm:prSet presAssocID="{1EF9F76C-3E6E-4CE4-BE58-48FD331BF633}" presName="c10" presStyleLbl="node1" presStyleIdx="9" presStyleCnt="19"/>
      <dgm:spPr/>
    </dgm:pt>
    <dgm:pt modelId="{FFFC8EE0-9F11-4925-A9C7-18893B9774E9}" type="pres">
      <dgm:prSet presAssocID="{1EF9F76C-3E6E-4CE4-BE58-48FD331BF633}" presName="c11" presStyleLbl="node1" presStyleIdx="10" presStyleCnt="19"/>
      <dgm:spPr/>
    </dgm:pt>
    <dgm:pt modelId="{6AB0E528-F81C-4289-9C5C-DA58625442FC}" type="pres">
      <dgm:prSet presAssocID="{1EF9F76C-3E6E-4CE4-BE58-48FD331BF633}" presName="c12" presStyleLbl="node1" presStyleIdx="11" presStyleCnt="19"/>
      <dgm:spPr/>
    </dgm:pt>
    <dgm:pt modelId="{68CB2E89-14B4-47FC-A9C6-C436CB56E5BB}" type="pres">
      <dgm:prSet presAssocID="{1EF9F76C-3E6E-4CE4-BE58-48FD331BF633}" presName="c13" presStyleLbl="node1" presStyleIdx="12" presStyleCnt="19"/>
      <dgm:spPr/>
    </dgm:pt>
    <dgm:pt modelId="{324CC721-DD2C-4F63-9DD1-53AF992C8DF9}" type="pres">
      <dgm:prSet presAssocID="{1EF9F76C-3E6E-4CE4-BE58-48FD331BF633}" presName="c14" presStyleLbl="node1" presStyleIdx="13" presStyleCnt="19"/>
      <dgm:spPr/>
    </dgm:pt>
    <dgm:pt modelId="{51F273A2-72E0-4FD0-9F55-90736CE3743C}" type="pres">
      <dgm:prSet presAssocID="{1EF9F76C-3E6E-4CE4-BE58-48FD331BF633}" presName="c15" presStyleLbl="node1" presStyleIdx="14" presStyleCnt="19"/>
      <dgm:spPr/>
    </dgm:pt>
    <dgm:pt modelId="{6A199C50-E55E-49A8-9B9F-EA865301CB16}" type="pres">
      <dgm:prSet presAssocID="{1EF9F76C-3E6E-4CE4-BE58-48FD331BF633}" presName="c16" presStyleLbl="node1" presStyleIdx="15" presStyleCnt="19"/>
      <dgm:spPr/>
    </dgm:pt>
    <dgm:pt modelId="{8F8EF821-94A3-4A5C-AB69-BBBB2E3B4527}" type="pres">
      <dgm:prSet presAssocID="{1EF9F76C-3E6E-4CE4-BE58-48FD331BF633}" presName="c17" presStyleLbl="node1" presStyleIdx="16" presStyleCnt="19"/>
      <dgm:spPr/>
    </dgm:pt>
    <dgm:pt modelId="{13DEE82D-F96D-44AC-A198-BD51CCA1AB3B}" type="pres">
      <dgm:prSet presAssocID="{1EF9F76C-3E6E-4CE4-BE58-48FD331BF633}" presName="c18" presStyleLbl="node1" presStyleIdx="17" presStyleCnt="19"/>
      <dgm:spPr/>
    </dgm:pt>
    <dgm:pt modelId="{6B7747F0-D948-483D-86B3-920D892285C9}" type="pres">
      <dgm:prSet presAssocID="{3AB5384C-FA84-494B-8B5B-FA7B65C9EFD0}" presName="chevronComposite1" presStyleCnt="0"/>
      <dgm:spPr/>
    </dgm:pt>
    <dgm:pt modelId="{1AB533B6-26EB-4BB6-A5C1-43C4FAD60219}" type="pres">
      <dgm:prSet presAssocID="{3AB5384C-FA84-494B-8B5B-FA7B65C9EFD0}" presName="chevron1" presStyleLbl="sibTrans2D1" presStyleIdx="0" presStyleCnt="2"/>
      <dgm:spPr/>
    </dgm:pt>
    <dgm:pt modelId="{A7A7CD6B-9A4A-44E3-91F5-1CCE74A58874}" type="pres">
      <dgm:prSet presAssocID="{3AB5384C-FA84-494B-8B5B-FA7B65C9EFD0}" presName="spChevron1" presStyleCnt="0"/>
      <dgm:spPr/>
    </dgm:pt>
    <dgm:pt modelId="{9FE6A25D-E88F-400C-86DE-DEF98F0DFC2C}" type="pres">
      <dgm:prSet presAssocID="{3AB5384C-FA84-494B-8B5B-FA7B65C9EFD0}" presName="overlap" presStyleCnt="0"/>
      <dgm:spPr/>
    </dgm:pt>
    <dgm:pt modelId="{C3F9FD0E-2F84-4EB7-AE82-77E0A81993FF}" type="pres">
      <dgm:prSet presAssocID="{3AB5384C-FA84-494B-8B5B-FA7B65C9EFD0}" presName="chevronComposite2" presStyleCnt="0"/>
      <dgm:spPr/>
    </dgm:pt>
    <dgm:pt modelId="{1B90CA37-93B8-4B58-A551-D6DE44CDB119}" type="pres">
      <dgm:prSet presAssocID="{3AB5384C-FA84-494B-8B5B-FA7B65C9EFD0}" presName="chevron2" presStyleLbl="sibTrans2D1" presStyleIdx="1" presStyleCnt="2"/>
      <dgm:spPr/>
    </dgm:pt>
    <dgm:pt modelId="{F5562716-C8D1-4DF8-8634-D09A33FC0566}" type="pres">
      <dgm:prSet presAssocID="{3AB5384C-FA84-494B-8B5B-FA7B65C9EFD0}" presName="spChevron2" presStyleCnt="0"/>
      <dgm:spPr/>
    </dgm:pt>
    <dgm:pt modelId="{AA340E53-F80C-4956-8B18-B4DF6BBCC767}" type="pres">
      <dgm:prSet presAssocID="{0A614FFB-DBFA-4176-8885-E4B283E6BD86}" presName="last" presStyleCnt="0"/>
      <dgm:spPr/>
    </dgm:pt>
    <dgm:pt modelId="{12DF6030-3335-4936-B99B-938232C23ECA}" type="pres">
      <dgm:prSet presAssocID="{0A614FFB-DBFA-4176-8885-E4B283E6BD86}" presName="circleTx" presStyleLbl="node1" presStyleIdx="18" presStyleCnt="19" custScaleX="186294"/>
      <dgm:spPr/>
    </dgm:pt>
    <dgm:pt modelId="{09D8C406-2E95-424A-B881-6EE4977FD1C4}" type="pres">
      <dgm:prSet presAssocID="{0A614FFB-DBFA-4176-8885-E4B283E6BD86}" presName="spN" presStyleCnt="0"/>
      <dgm:spPr/>
    </dgm:pt>
  </dgm:ptLst>
  <dgm:cxnLst>
    <dgm:cxn modelId="{80B29C23-F001-44E2-BE15-A9F358286606}" type="presOf" srcId="{1EF9F76C-3E6E-4CE4-BE58-48FD331BF633}" destId="{FAD775E1-6D84-44BA-AC0E-BFB8FEC6BF56}" srcOrd="0" destOrd="0" presId="urn:microsoft.com/office/officeart/2009/3/layout/RandomtoResultProcess"/>
    <dgm:cxn modelId="{F6725F3E-CB36-4169-9721-74E6CD5E95FE}" srcId="{0CE6949C-A75C-4322-BF67-BFE47FCB40CF}" destId="{0A614FFB-DBFA-4176-8885-E4B283E6BD86}" srcOrd="1" destOrd="0" parTransId="{88149B82-503D-49B1-85AE-43DDC7E58338}" sibTransId="{50175FD8-BB57-4D69-8FA6-74FCB3635741}"/>
    <dgm:cxn modelId="{B7774E6C-C02C-4B8A-9316-0CD71FE6CD5B}" type="presOf" srcId="{0CE6949C-A75C-4322-BF67-BFE47FCB40CF}" destId="{6161C3B8-F93C-4804-B71C-1CDC481FF718}" srcOrd="0" destOrd="0" presId="urn:microsoft.com/office/officeart/2009/3/layout/RandomtoResultProcess"/>
    <dgm:cxn modelId="{38630778-2B73-4737-8337-3B1AEBC2CBBB}" srcId="{0CE6949C-A75C-4322-BF67-BFE47FCB40CF}" destId="{1EF9F76C-3E6E-4CE4-BE58-48FD331BF633}" srcOrd="0" destOrd="0" parTransId="{402EEFCF-18A3-4F9C-ABFC-D6DEEA7D7BAB}" sibTransId="{3AB5384C-FA84-494B-8B5B-FA7B65C9EFD0}"/>
    <dgm:cxn modelId="{512B8F8B-C93F-46D4-984A-77B88C6E0317}" type="presOf" srcId="{0A614FFB-DBFA-4176-8885-E4B283E6BD86}" destId="{12DF6030-3335-4936-B99B-938232C23ECA}" srcOrd="0" destOrd="0" presId="urn:microsoft.com/office/officeart/2009/3/layout/RandomtoResultProcess"/>
    <dgm:cxn modelId="{78095698-16B9-406E-A406-748396E2C942}" type="presParOf" srcId="{6161C3B8-F93C-4804-B71C-1CDC481FF718}" destId="{7257CC7F-5312-4A3F-8A32-D3CCBC28DB35}" srcOrd="0" destOrd="0" presId="urn:microsoft.com/office/officeart/2009/3/layout/RandomtoResultProcess"/>
    <dgm:cxn modelId="{918DB5A5-A976-4CFF-974C-CC1C803724B8}" type="presParOf" srcId="{7257CC7F-5312-4A3F-8A32-D3CCBC28DB35}" destId="{FAD775E1-6D84-44BA-AC0E-BFB8FEC6BF56}" srcOrd="0" destOrd="0" presId="urn:microsoft.com/office/officeart/2009/3/layout/RandomtoResultProcess"/>
    <dgm:cxn modelId="{56E19F46-B1F4-40A8-936F-484DA4217B50}" type="presParOf" srcId="{7257CC7F-5312-4A3F-8A32-D3CCBC28DB35}" destId="{7F75E68E-DB16-4058-81E5-34F937A10594}" srcOrd="1" destOrd="0" presId="urn:microsoft.com/office/officeart/2009/3/layout/RandomtoResultProcess"/>
    <dgm:cxn modelId="{85A0EB62-9B09-48D5-9682-C2E6AB524375}" type="presParOf" srcId="{7257CC7F-5312-4A3F-8A32-D3CCBC28DB35}" destId="{82C0178B-4307-4D67-BF23-427F5BD9FD57}" srcOrd="2" destOrd="0" presId="urn:microsoft.com/office/officeart/2009/3/layout/RandomtoResultProcess"/>
    <dgm:cxn modelId="{3781F0C3-BB96-4AFE-BDDC-42401E7CE9CA}" type="presParOf" srcId="{7257CC7F-5312-4A3F-8A32-D3CCBC28DB35}" destId="{C7A75913-8E7F-4EB9-AB36-1A7B5306CD8F}" srcOrd="3" destOrd="0" presId="urn:microsoft.com/office/officeart/2009/3/layout/RandomtoResultProcess"/>
    <dgm:cxn modelId="{053DEB45-7F7B-4A12-BDD1-7B756B2AFB53}" type="presParOf" srcId="{7257CC7F-5312-4A3F-8A32-D3CCBC28DB35}" destId="{17DFA952-DB38-4BC8-A28E-18F55B4688BE}" srcOrd="4" destOrd="0" presId="urn:microsoft.com/office/officeart/2009/3/layout/RandomtoResultProcess"/>
    <dgm:cxn modelId="{80A05754-0E11-404C-867E-CFEA709BD004}" type="presParOf" srcId="{7257CC7F-5312-4A3F-8A32-D3CCBC28DB35}" destId="{55DBF157-7ECD-4B27-928E-EF48FD8C0E74}" srcOrd="5" destOrd="0" presId="urn:microsoft.com/office/officeart/2009/3/layout/RandomtoResultProcess"/>
    <dgm:cxn modelId="{62CA6244-FAC2-4704-8CFF-5FE43EEF1F7E}" type="presParOf" srcId="{7257CC7F-5312-4A3F-8A32-D3CCBC28DB35}" destId="{E515B4CF-0CFF-4DF1-B4DE-B25A602324A9}" srcOrd="6" destOrd="0" presId="urn:microsoft.com/office/officeart/2009/3/layout/RandomtoResultProcess"/>
    <dgm:cxn modelId="{2476ADCD-65C1-4411-B358-BAABEC7B3237}" type="presParOf" srcId="{7257CC7F-5312-4A3F-8A32-D3CCBC28DB35}" destId="{15E6749D-D459-4BD9-BD6C-CF14BB4226AC}" srcOrd="7" destOrd="0" presId="urn:microsoft.com/office/officeart/2009/3/layout/RandomtoResultProcess"/>
    <dgm:cxn modelId="{D322BF0B-D05E-4246-A01A-ED896CD28423}" type="presParOf" srcId="{7257CC7F-5312-4A3F-8A32-D3CCBC28DB35}" destId="{388C1400-0719-4E55-A6C6-47C8C5033C7B}" srcOrd="8" destOrd="0" presId="urn:microsoft.com/office/officeart/2009/3/layout/RandomtoResultProcess"/>
    <dgm:cxn modelId="{90D63EDF-7312-4419-B462-F9858570A521}" type="presParOf" srcId="{7257CC7F-5312-4A3F-8A32-D3CCBC28DB35}" destId="{2769B90C-E8E5-4B82-89AA-42633BADFF11}" srcOrd="9" destOrd="0" presId="urn:microsoft.com/office/officeart/2009/3/layout/RandomtoResultProcess"/>
    <dgm:cxn modelId="{CD374D8E-EF8E-4F21-9AF6-08FBC7CF04D7}" type="presParOf" srcId="{7257CC7F-5312-4A3F-8A32-D3CCBC28DB35}" destId="{F79CBB7D-601D-47B2-BBA3-0F9592232989}" srcOrd="10" destOrd="0" presId="urn:microsoft.com/office/officeart/2009/3/layout/RandomtoResultProcess"/>
    <dgm:cxn modelId="{090E5184-EFE4-4452-A460-9F605EE77D8D}" type="presParOf" srcId="{7257CC7F-5312-4A3F-8A32-D3CCBC28DB35}" destId="{FFFC8EE0-9F11-4925-A9C7-18893B9774E9}" srcOrd="11" destOrd="0" presId="urn:microsoft.com/office/officeart/2009/3/layout/RandomtoResultProcess"/>
    <dgm:cxn modelId="{759D090B-0615-4C1F-AADF-495721A0A3FB}" type="presParOf" srcId="{7257CC7F-5312-4A3F-8A32-D3CCBC28DB35}" destId="{6AB0E528-F81C-4289-9C5C-DA58625442FC}" srcOrd="12" destOrd="0" presId="urn:microsoft.com/office/officeart/2009/3/layout/RandomtoResultProcess"/>
    <dgm:cxn modelId="{97D36DA2-9FD1-493E-83A7-71CC9C474E09}" type="presParOf" srcId="{7257CC7F-5312-4A3F-8A32-D3CCBC28DB35}" destId="{68CB2E89-14B4-47FC-A9C6-C436CB56E5BB}" srcOrd="13" destOrd="0" presId="urn:microsoft.com/office/officeart/2009/3/layout/RandomtoResultProcess"/>
    <dgm:cxn modelId="{796E757D-71D1-4255-896F-BC27A7B26ADD}" type="presParOf" srcId="{7257CC7F-5312-4A3F-8A32-D3CCBC28DB35}" destId="{324CC721-DD2C-4F63-9DD1-53AF992C8DF9}" srcOrd="14" destOrd="0" presId="urn:microsoft.com/office/officeart/2009/3/layout/RandomtoResultProcess"/>
    <dgm:cxn modelId="{B1886A32-C3BB-40FA-AD56-EEBCAC6E6D07}" type="presParOf" srcId="{7257CC7F-5312-4A3F-8A32-D3CCBC28DB35}" destId="{51F273A2-72E0-4FD0-9F55-90736CE3743C}" srcOrd="15" destOrd="0" presId="urn:microsoft.com/office/officeart/2009/3/layout/RandomtoResultProcess"/>
    <dgm:cxn modelId="{B73D6F55-48FA-4D93-B240-727E8F7683BE}" type="presParOf" srcId="{7257CC7F-5312-4A3F-8A32-D3CCBC28DB35}" destId="{6A199C50-E55E-49A8-9B9F-EA865301CB16}" srcOrd="16" destOrd="0" presId="urn:microsoft.com/office/officeart/2009/3/layout/RandomtoResultProcess"/>
    <dgm:cxn modelId="{DA0F0EBE-53A8-4457-AC0A-B47F79A0758C}" type="presParOf" srcId="{7257CC7F-5312-4A3F-8A32-D3CCBC28DB35}" destId="{8F8EF821-94A3-4A5C-AB69-BBBB2E3B4527}" srcOrd="17" destOrd="0" presId="urn:microsoft.com/office/officeart/2009/3/layout/RandomtoResultProcess"/>
    <dgm:cxn modelId="{846BAE47-BFD0-441A-9834-9875CF66FFEA}" type="presParOf" srcId="{7257CC7F-5312-4A3F-8A32-D3CCBC28DB35}" destId="{13DEE82D-F96D-44AC-A198-BD51CCA1AB3B}" srcOrd="18" destOrd="0" presId="urn:microsoft.com/office/officeart/2009/3/layout/RandomtoResultProcess"/>
    <dgm:cxn modelId="{3AA6B8CA-296A-4CD0-8D16-7A2C3D740123}" type="presParOf" srcId="{6161C3B8-F93C-4804-B71C-1CDC481FF718}" destId="{6B7747F0-D948-483D-86B3-920D892285C9}" srcOrd="1" destOrd="0" presId="urn:microsoft.com/office/officeart/2009/3/layout/RandomtoResultProcess"/>
    <dgm:cxn modelId="{26EFFB47-2A75-473E-8B92-0E51E4F4C8D1}" type="presParOf" srcId="{6B7747F0-D948-483D-86B3-920D892285C9}" destId="{1AB533B6-26EB-4BB6-A5C1-43C4FAD60219}" srcOrd="0" destOrd="0" presId="urn:microsoft.com/office/officeart/2009/3/layout/RandomtoResultProcess"/>
    <dgm:cxn modelId="{69C5C98C-2C2D-4C49-9718-D167F793676D}" type="presParOf" srcId="{6B7747F0-D948-483D-86B3-920D892285C9}" destId="{A7A7CD6B-9A4A-44E3-91F5-1CCE74A58874}" srcOrd="1" destOrd="0" presId="urn:microsoft.com/office/officeart/2009/3/layout/RandomtoResultProcess"/>
    <dgm:cxn modelId="{47730A40-E6EF-4B3F-9919-F498CB256331}" type="presParOf" srcId="{6161C3B8-F93C-4804-B71C-1CDC481FF718}" destId="{9FE6A25D-E88F-400C-86DE-DEF98F0DFC2C}" srcOrd="2" destOrd="0" presId="urn:microsoft.com/office/officeart/2009/3/layout/RandomtoResultProcess"/>
    <dgm:cxn modelId="{42C65ACC-8D78-4122-8960-FA9E96248F6B}" type="presParOf" srcId="{6161C3B8-F93C-4804-B71C-1CDC481FF718}" destId="{C3F9FD0E-2F84-4EB7-AE82-77E0A81993FF}" srcOrd="3" destOrd="0" presId="urn:microsoft.com/office/officeart/2009/3/layout/RandomtoResultProcess"/>
    <dgm:cxn modelId="{0D80BDB8-0CA8-42F8-B233-6C1065F0FD35}" type="presParOf" srcId="{C3F9FD0E-2F84-4EB7-AE82-77E0A81993FF}" destId="{1B90CA37-93B8-4B58-A551-D6DE44CDB119}" srcOrd="0" destOrd="0" presId="urn:microsoft.com/office/officeart/2009/3/layout/RandomtoResultProcess"/>
    <dgm:cxn modelId="{666F52A1-6706-4643-B67F-B48C2DF69862}" type="presParOf" srcId="{C3F9FD0E-2F84-4EB7-AE82-77E0A81993FF}" destId="{F5562716-C8D1-4DF8-8634-D09A33FC0566}" srcOrd="1" destOrd="0" presId="urn:microsoft.com/office/officeart/2009/3/layout/RandomtoResultProcess"/>
    <dgm:cxn modelId="{F554A094-CCDA-4223-B846-0CF9500DAE58}" type="presParOf" srcId="{6161C3B8-F93C-4804-B71C-1CDC481FF718}" destId="{AA340E53-F80C-4956-8B18-B4DF6BBCC767}" srcOrd="4" destOrd="0" presId="urn:microsoft.com/office/officeart/2009/3/layout/RandomtoResultProcess"/>
    <dgm:cxn modelId="{DE8599CE-DAA8-48C1-A815-BFE9E49BA25B}" type="presParOf" srcId="{AA340E53-F80C-4956-8B18-B4DF6BBCC767}" destId="{12DF6030-3335-4936-B99B-938232C23ECA}" srcOrd="0" destOrd="0" presId="urn:microsoft.com/office/officeart/2009/3/layout/RandomtoResultProcess"/>
    <dgm:cxn modelId="{23B7ADDF-4910-47F1-8695-6B15DB7D306D}" type="presParOf" srcId="{AA340E53-F80C-4956-8B18-B4DF6BBCC767}" destId="{09D8C406-2E95-424A-B881-6EE4977FD1C4}" srcOrd="1" destOrd="0" presId="urn:microsoft.com/office/officeart/2009/3/layout/RandomtoResult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6A0B7AE-A2F9-4C05-A1F5-444C5244C2AE}" type="doc">
      <dgm:prSet loTypeId="urn:microsoft.com/office/officeart/2008/layout/LinedList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3BA74D94-620B-4863-BBA0-2A99001C8959}">
      <dgm:prSet phldrT="[Текст]"/>
      <dgm:spPr/>
      <dgm:t>
        <a:bodyPr/>
        <a:lstStyle/>
        <a:p>
          <a:r>
            <a:rPr lang="ru-RU" dirty="0"/>
            <a:t>ТТ</a:t>
          </a:r>
        </a:p>
      </dgm:t>
    </dgm:pt>
    <dgm:pt modelId="{A802358C-F560-4355-AA25-624FFC09239E}" type="parTrans" cxnId="{C989B487-058F-46EB-8E51-18568025BB57}">
      <dgm:prSet/>
      <dgm:spPr/>
      <dgm:t>
        <a:bodyPr/>
        <a:lstStyle/>
        <a:p>
          <a:endParaRPr lang="ru-RU"/>
        </a:p>
      </dgm:t>
    </dgm:pt>
    <dgm:pt modelId="{C5E5F977-A356-4D17-903C-9C041671D966}" type="sibTrans" cxnId="{C989B487-058F-46EB-8E51-18568025BB57}">
      <dgm:prSet/>
      <dgm:spPr/>
      <dgm:t>
        <a:bodyPr/>
        <a:lstStyle/>
        <a:p>
          <a:endParaRPr lang="ru-RU"/>
        </a:p>
      </dgm:t>
    </dgm:pt>
    <dgm:pt modelId="{FDA2C819-544C-4705-9CE5-E26C67BAC139}">
      <dgm:prSet phldrT="[Текст]"/>
      <dgm:spPr/>
      <dgm:t>
        <a:bodyPr/>
        <a:lstStyle/>
        <a:p>
          <a:r>
            <a:rPr lang="ru-RU" dirty="0"/>
            <a:t>ССЫЛКИ</a:t>
          </a:r>
        </a:p>
      </dgm:t>
    </dgm:pt>
    <dgm:pt modelId="{962A8A55-BC31-4FD5-88FC-9343025E2F63}" type="parTrans" cxnId="{78AB319F-4367-44CA-A08F-ED7484A73B84}">
      <dgm:prSet/>
      <dgm:spPr/>
      <dgm:t>
        <a:bodyPr/>
        <a:lstStyle/>
        <a:p>
          <a:endParaRPr lang="ru-RU"/>
        </a:p>
      </dgm:t>
    </dgm:pt>
    <dgm:pt modelId="{3F0FF1C7-ED02-4E25-ABAB-881B729375F9}" type="sibTrans" cxnId="{78AB319F-4367-44CA-A08F-ED7484A73B84}">
      <dgm:prSet/>
      <dgm:spPr/>
      <dgm:t>
        <a:bodyPr/>
        <a:lstStyle/>
        <a:p>
          <a:endParaRPr lang="ru-RU"/>
        </a:p>
      </dgm:t>
    </dgm:pt>
    <dgm:pt modelId="{989D0694-63B6-4DB9-B0DF-F1D0F8D116C9}">
      <dgm:prSet phldrT="[Текст]"/>
      <dgm:spPr/>
      <dgm:t>
        <a:bodyPr/>
        <a:lstStyle/>
        <a:p>
          <a:r>
            <a:rPr lang="ru-RU" dirty="0"/>
            <a:t>МАТЕРИАЛЫ</a:t>
          </a:r>
        </a:p>
      </dgm:t>
    </dgm:pt>
    <dgm:pt modelId="{1FFAD963-27EC-43A9-90F8-1278754DB76C}" type="parTrans" cxnId="{AE9C439B-D6BA-470E-BF59-BA6A33CC7219}">
      <dgm:prSet/>
      <dgm:spPr/>
      <dgm:t>
        <a:bodyPr/>
        <a:lstStyle/>
        <a:p>
          <a:endParaRPr lang="ru-RU"/>
        </a:p>
      </dgm:t>
    </dgm:pt>
    <dgm:pt modelId="{97C77050-CB94-46A0-B429-FC23210EAB6E}" type="sibTrans" cxnId="{AE9C439B-D6BA-470E-BF59-BA6A33CC7219}">
      <dgm:prSet/>
      <dgm:spPr/>
      <dgm:t>
        <a:bodyPr/>
        <a:lstStyle/>
        <a:p>
          <a:endParaRPr lang="ru-RU"/>
        </a:p>
      </dgm:t>
    </dgm:pt>
    <dgm:pt modelId="{649E10DB-5543-42A2-B7C3-85898035E6F4}">
      <dgm:prSet phldrT="[Текст]"/>
      <dgm:spPr/>
      <dgm:t>
        <a:bodyPr/>
        <a:lstStyle/>
        <a:p>
          <a:r>
            <a:rPr lang="ru-RU" dirty="0"/>
            <a:t>САЙТ</a:t>
          </a:r>
        </a:p>
      </dgm:t>
    </dgm:pt>
    <dgm:pt modelId="{2708F901-3AFF-4335-960F-15A9CD856483}" type="parTrans" cxnId="{94FD38F6-2A28-4D4A-A83E-029C791681F6}">
      <dgm:prSet/>
      <dgm:spPr/>
      <dgm:t>
        <a:bodyPr/>
        <a:lstStyle/>
        <a:p>
          <a:endParaRPr lang="ru-RU"/>
        </a:p>
      </dgm:t>
    </dgm:pt>
    <dgm:pt modelId="{91B96492-5772-4E3C-A464-435DAF0F594E}" type="sibTrans" cxnId="{94FD38F6-2A28-4D4A-A83E-029C791681F6}">
      <dgm:prSet/>
      <dgm:spPr/>
      <dgm:t>
        <a:bodyPr/>
        <a:lstStyle/>
        <a:p>
          <a:endParaRPr lang="ru-RU"/>
        </a:p>
      </dgm:t>
    </dgm:pt>
    <dgm:pt modelId="{D2444562-C90D-4531-97E8-8F198D4A6DB0}">
      <dgm:prSet phldrT="[Текст]"/>
      <dgm:spPr/>
      <dgm:t>
        <a:bodyPr/>
        <a:lstStyle/>
        <a:p>
          <a:r>
            <a:rPr lang="ru-RU" dirty="0"/>
            <a:t>СРЕДА</a:t>
          </a:r>
        </a:p>
      </dgm:t>
    </dgm:pt>
    <dgm:pt modelId="{EF0E5CF4-27DF-430B-9CBE-4DDF2E1191A2}" type="parTrans" cxnId="{EB919273-5BA3-421C-B10E-4C745053A191}">
      <dgm:prSet/>
      <dgm:spPr/>
      <dgm:t>
        <a:bodyPr/>
        <a:lstStyle/>
        <a:p>
          <a:endParaRPr lang="ru-RU"/>
        </a:p>
      </dgm:t>
    </dgm:pt>
    <dgm:pt modelId="{D5C99D12-CFBE-4E7B-9EDB-06AA44D19644}" type="sibTrans" cxnId="{EB919273-5BA3-421C-B10E-4C745053A191}">
      <dgm:prSet/>
      <dgm:spPr/>
      <dgm:t>
        <a:bodyPr/>
        <a:lstStyle/>
        <a:p>
          <a:endParaRPr lang="ru-RU"/>
        </a:p>
      </dgm:t>
    </dgm:pt>
    <dgm:pt modelId="{1698F9E1-A3D8-4EFD-904D-08E3DE860D25}" type="pres">
      <dgm:prSet presAssocID="{A6A0B7AE-A2F9-4C05-A1F5-444C5244C2AE}" presName="vert0" presStyleCnt="0">
        <dgm:presLayoutVars>
          <dgm:dir/>
          <dgm:animOne val="branch"/>
          <dgm:animLvl val="lvl"/>
        </dgm:presLayoutVars>
      </dgm:prSet>
      <dgm:spPr/>
    </dgm:pt>
    <dgm:pt modelId="{E93E3ECA-BB4D-4483-B1C6-24793765EB15}" type="pres">
      <dgm:prSet presAssocID="{3BA74D94-620B-4863-BBA0-2A99001C8959}" presName="thickLine" presStyleLbl="alignNode1" presStyleIdx="0" presStyleCnt="5"/>
      <dgm:spPr/>
    </dgm:pt>
    <dgm:pt modelId="{F056FDFF-0373-43CC-BCBA-18FEAC1A2742}" type="pres">
      <dgm:prSet presAssocID="{3BA74D94-620B-4863-BBA0-2A99001C8959}" presName="horz1" presStyleCnt="0"/>
      <dgm:spPr/>
    </dgm:pt>
    <dgm:pt modelId="{6BDFEA9F-0AA8-46BE-99AD-CEFFB9495F41}" type="pres">
      <dgm:prSet presAssocID="{3BA74D94-620B-4863-BBA0-2A99001C8959}" presName="tx1" presStyleLbl="revTx" presStyleIdx="0" presStyleCnt="5"/>
      <dgm:spPr/>
    </dgm:pt>
    <dgm:pt modelId="{0EF6A900-DACC-4CFD-8201-E8C2BE03A694}" type="pres">
      <dgm:prSet presAssocID="{3BA74D94-620B-4863-BBA0-2A99001C8959}" presName="vert1" presStyleCnt="0"/>
      <dgm:spPr/>
    </dgm:pt>
    <dgm:pt modelId="{2D11757B-DD7A-4286-ADC3-B4E1A175A970}" type="pres">
      <dgm:prSet presAssocID="{FDA2C819-544C-4705-9CE5-E26C67BAC139}" presName="thickLine" presStyleLbl="alignNode1" presStyleIdx="1" presStyleCnt="5"/>
      <dgm:spPr/>
    </dgm:pt>
    <dgm:pt modelId="{B9083922-D6AD-441E-A713-E93448C7EA8D}" type="pres">
      <dgm:prSet presAssocID="{FDA2C819-544C-4705-9CE5-E26C67BAC139}" presName="horz1" presStyleCnt="0"/>
      <dgm:spPr/>
    </dgm:pt>
    <dgm:pt modelId="{7B716FAC-49F7-4855-BA4B-9DB849DF8A83}" type="pres">
      <dgm:prSet presAssocID="{FDA2C819-544C-4705-9CE5-E26C67BAC139}" presName="tx1" presStyleLbl="revTx" presStyleIdx="1" presStyleCnt="5"/>
      <dgm:spPr/>
    </dgm:pt>
    <dgm:pt modelId="{319EF06B-624F-4EE7-90B1-F3247A8DA7E5}" type="pres">
      <dgm:prSet presAssocID="{FDA2C819-544C-4705-9CE5-E26C67BAC139}" presName="vert1" presStyleCnt="0"/>
      <dgm:spPr/>
    </dgm:pt>
    <dgm:pt modelId="{2E090597-9A1D-4DEB-9983-AE519065C4EB}" type="pres">
      <dgm:prSet presAssocID="{989D0694-63B6-4DB9-B0DF-F1D0F8D116C9}" presName="thickLine" presStyleLbl="alignNode1" presStyleIdx="2" presStyleCnt="5"/>
      <dgm:spPr/>
    </dgm:pt>
    <dgm:pt modelId="{AB3DDD16-699F-434D-8C62-D5D75301A058}" type="pres">
      <dgm:prSet presAssocID="{989D0694-63B6-4DB9-B0DF-F1D0F8D116C9}" presName="horz1" presStyleCnt="0"/>
      <dgm:spPr/>
    </dgm:pt>
    <dgm:pt modelId="{71AA1836-9397-4439-9FF6-E67A983DB256}" type="pres">
      <dgm:prSet presAssocID="{989D0694-63B6-4DB9-B0DF-F1D0F8D116C9}" presName="tx1" presStyleLbl="revTx" presStyleIdx="2" presStyleCnt="5"/>
      <dgm:spPr/>
    </dgm:pt>
    <dgm:pt modelId="{FFC268DE-AB4E-44FC-A908-8C775352FE93}" type="pres">
      <dgm:prSet presAssocID="{989D0694-63B6-4DB9-B0DF-F1D0F8D116C9}" presName="vert1" presStyleCnt="0"/>
      <dgm:spPr/>
    </dgm:pt>
    <dgm:pt modelId="{E08187A4-8A56-42B2-A8C3-BDF498297FFC}" type="pres">
      <dgm:prSet presAssocID="{649E10DB-5543-42A2-B7C3-85898035E6F4}" presName="thickLine" presStyleLbl="alignNode1" presStyleIdx="3" presStyleCnt="5"/>
      <dgm:spPr/>
    </dgm:pt>
    <dgm:pt modelId="{058D570B-F3AA-485E-8D4F-08A8CBDF2159}" type="pres">
      <dgm:prSet presAssocID="{649E10DB-5543-42A2-B7C3-85898035E6F4}" presName="horz1" presStyleCnt="0"/>
      <dgm:spPr/>
    </dgm:pt>
    <dgm:pt modelId="{E64C23AA-AC95-4B07-B538-6A552C344042}" type="pres">
      <dgm:prSet presAssocID="{649E10DB-5543-42A2-B7C3-85898035E6F4}" presName="tx1" presStyleLbl="revTx" presStyleIdx="3" presStyleCnt="5"/>
      <dgm:spPr/>
    </dgm:pt>
    <dgm:pt modelId="{FF9BDC1F-104F-45A0-9EFF-CF2DCE3C34C2}" type="pres">
      <dgm:prSet presAssocID="{649E10DB-5543-42A2-B7C3-85898035E6F4}" presName="vert1" presStyleCnt="0"/>
      <dgm:spPr/>
    </dgm:pt>
    <dgm:pt modelId="{B06D20B3-D146-4756-B59F-F5E1C821FF5C}" type="pres">
      <dgm:prSet presAssocID="{D2444562-C90D-4531-97E8-8F198D4A6DB0}" presName="thickLine" presStyleLbl="alignNode1" presStyleIdx="4" presStyleCnt="5"/>
      <dgm:spPr/>
    </dgm:pt>
    <dgm:pt modelId="{695B6B75-67FF-4B39-ACC2-B6BF0CECF723}" type="pres">
      <dgm:prSet presAssocID="{D2444562-C90D-4531-97E8-8F198D4A6DB0}" presName="horz1" presStyleCnt="0"/>
      <dgm:spPr/>
    </dgm:pt>
    <dgm:pt modelId="{1922DF97-8013-4683-A840-385C57BDD88B}" type="pres">
      <dgm:prSet presAssocID="{D2444562-C90D-4531-97E8-8F198D4A6DB0}" presName="tx1" presStyleLbl="revTx" presStyleIdx="4" presStyleCnt="5"/>
      <dgm:spPr/>
    </dgm:pt>
    <dgm:pt modelId="{4DEA76FB-59C4-44E1-93AD-7CCB56099F30}" type="pres">
      <dgm:prSet presAssocID="{D2444562-C90D-4531-97E8-8F198D4A6DB0}" presName="vert1" presStyleCnt="0"/>
      <dgm:spPr/>
    </dgm:pt>
  </dgm:ptLst>
  <dgm:cxnLst>
    <dgm:cxn modelId="{D38DD20C-495F-473F-89AA-F4280E5037D3}" type="presOf" srcId="{649E10DB-5543-42A2-B7C3-85898035E6F4}" destId="{E64C23AA-AC95-4B07-B538-6A552C344042}" srcOrd="0" destOrd="0" presId="urn:microsoft.com/office/officeart/2008/layout/LinedList"/>
    <dgm:cxn modelId="{2B24782B-52DF-4512-A50B-D6F1A37744F5}" type="presOf" srcId="{989D0694-63B6-4DB9-B0DF-F1D0F8D116C9}" destId="{71AA1836-9397-4439-9FF6-E67A983DB256}" srcOrd="0" destOrd="0" presId="urn:microsoft.com/office/officeart/2008/layout/LinedList"/>
    <dgm:cxn modelId="{EB919273-5BA3-421C-B10E-4C745053A191}" srcId="{A6A0B7AE-A2F9-4C05-A1F5-444C5244C2AE}" destId="{D2444562-C90D-4531-97E8-8F198D4A6DB0}" srcOrd="4" destOrd="0" parTransId="{EF0E5CF4-27DF-430B-9CBE-4DDF2E1191A2}" sibTransId="{D5C99D12-CFBE-4E7B-9EDB-06AA44D19644}"/>
    <dgm:cxn modelId="{C989B487-058F-46EB-8E51-18568025BB57}" srcId="{A6A0B7AE-A2F9-4C05-A1F5-444C5244C2AE}" destId="{3BA74D94-620B-4863-BBA0-2A99001C8959}" srcOrd="0" destOrd="0" parTransId="{A802358C-F560-4355-AA25-624FFC09239E}" sibTransId="{C5E5F977-A356-4D17-903C-9C041671D966}"/>
    <dgm:cxn modelId="{60A8A089-BEDB-4F15-83F1-BEF61B41EBBB}" type="presOf" srcId="{FDA2C819-544C-4705-9CE5-E26C67BAC139}" destId="{7B716FAC-49F7-4855-BA4B-9DB849DF8A83}" srcOrd="0" destOrd="0" presId="urn:microsoft.com/office/officeart/2008/layout/LinedList"/>
    <dgm:cxn modelId="{896E859A-25CC-4E95-BA57-8964217F2676}" type="presOf" srcId="{3BA74D94-620B-4863-BBA0-2A99001C8959}" destId="{6BDFEA9F-0AA8-46BE-99AD-CEFFB9495F41}" srcOrd="0" destOrd="0" presId="urn:microsoft.com/office/officeart/2008/layout/LinedList"/>
    <dgm:cxn modelId="{AE9C439B-D6BA-470E-BF59-BA6A33CC7219}" srcId="{A6A0B7AE-A2F9-4C05-A1F5-444C5244C2AE}" destId="{989D0694-63B6-4DB9-B0DF-F1D0F8D116C9}" srcOrd="2" destOrd="0" parTransId="{1FFAD963-27EC-43A9-90F8-1278754DB76C}" sibTransId="{97C77050-CB94-46A0-B429-FC23210EAB6E}"/>
    <dgm:cxn modelId="{78AB319F-4367-44CA-A08F-ED7484A73B84}" srcId="{A6A0B7AE-A2F9-4C05-A1F5-444C5244C2AE}" destId="{FDA2C819-544C-4705-9CE5-E26C67BAC139}" srcOrd="1" destOrd="0" parTransId="{962A8A55-BC31-4FD5-88FC-9343025E2F63}" sibTransId="{3F0FF1C7-ED02-4E25-ABAB-881B729375F9}"/>
    <dgm:cxn modelId="{42F251AE-C8DC-44F9-8E74-1DAA2A02591C}" type="presOf" srcId="{D2444562-C90D-4531-97E8-8F198D4A6DB0}" destId="{1922DF97-8013-4683-A840-385C57BDD88B}" srcOrd="0" destOrd="0" presId="urn:microsoft.com/office/officeart/2008/layout/LinedList"/>
    <dgm:cxn modelId="{728B86E1-8B68-4D42-8AEC-C99CE6064016}" type="presOf" srcId="{A6A0B7AE-A2F9-4C05-A1F5-444C5244C2AE}" destId="{1698F9E1-A3D8-4EFD-904D-08E3DE860D25}" srcOrd="0" destOrd="0" presId="urn:microsoft.com/office/officeart/2008/layout/LinedList"/>
    <dgm:cxn modelId="{94FD38F6-2A28-4D4A-A83E-029C791681F6}" srcId="{A6A0B7AE-A2F9-4C05-A1F5-444C5244C2AE}" destId="{649E10DB-5543-42A2-B7C3-85898035E6F4}" srcOrd="3" destOrd="0" parTransId="{2708F901-3AFF-4335-960F-15A9CD856483}" sibTransId="{91B96492-5772-4E3C-A464-435DAF0F594E}"/>
    <dgm:cxn modelId="{3171EFE4-4737-4E85-9371-01C8B16D1C3E}" type="presParOf" srcId="{1698F9E1-A3D8-4EFD-904D-08E3DE860D25}" destId="{E93E3ECA-BB4D-4483-B1C6-24793765EB15}" srcOrd="0" destOrd="0" presId="urn:microsoft.com/office/officeart/2008/layout/LinedList"/>
    <dgm:cxn modelId="{DBEA7E94-31D1-49F5-9896-3A21F284FBE8}" type="presParOf" srcId="{1698F9E1-A3D8-4EFD-904D-08E3DE860D25}" destId="{F056FDFF-0373-43CC-BCBA-18FEAC1A2742}" srcOrd="1" destOrd="0" presId="urn:microsoft.com/office/officeart/2008/layout/LinedList"/>
    <dgm:cxn modelId="{40BFCA95-8240-41EE-B8A2-71887A9ACDAC}" type="presParOf" srcId="{F056FDFF-0373-43CC-BCBA-18FEAC1A2742}" destId="{6BDFEA9F-0AA8-46BE-99AD-CEFFB9495F41}" srcOrd="0" destOrd="0" presId="urn:microsoft.com/office/officeart/2008/layout/LinedList"/>
    <dgm:cxn modelId="{60452CF6-1BCC-49CA-B760-88625F4B0F75}" type="presParOf" srcId="{F056FDFF-0373-43CC-BCBA-18FEAC1A2742}" destId="{0EF6A900-DACC-4CFD-8201-E8C2BE03A694}" srcOrd="1" destOrd="0" presId="urn:microsoft.com/office/officeart/2008/layout/LinedList"/>
    <dgm:cxn modelId="{DAA17DBE-AEDE-4051-84FB-1631E56BB248}" type="presParOf" srcId="{1698F9E1-A3D8-4EFD-904D-08E3DE860D25}" destId="{2D11757B-DD7A-4286-ADC3-B4E1A175A970}" srcOrd="2" destOrd="0" presId="urn:microsoft.com/office/officeart/2008/layout/LinedList"/>
    <dgm:cxn modelId="{953A7168-68E6-41C7-BB30-758F55FF35BB}" type="presParOf" srcId="{1698F9E1-A3D8-4EFD-904D-08E3DE860D25}" destId="{B9083922-D6AD-441E-A713-E93448C7EA8D}" srcOrd="3" destOrd="0" presId="urn:microsoft.com/office/officeart/2008/layout/LinedList"/>
    <dgm:cxn modelId="{48F7B917-5955-4CEE-A231-383BC1505783}" type="presParOf" srcId="{B9083922-D6AD-441E-A713-E93448C7EA8D}" destId="{7B716FAC-49F7-4855-BA4B-9DB849DF8A83}" srcOrd="0" destOrd="0" presId="urn:microsoft.com/office/officeart/2008/layout/LinedList"/>
    <dgm:cxn modelId="{F45DA8DE-D31C-496D-9C09-A28BF8DDB19C}" type="presParOf" srcId="{B9083922-D6AD-441E-A713-E93448C7EA8D}" destId="{319EF06B-624F-4EE7-90B1-F3247A8DA7E5}" srcOrd="1" destOrd="0" presId="urn:microsoft.com/office/officeart/2008/layout/LinedList"/>
    <dgm:cxn modelId="{88C62C34-D147-493B-8B35-8608C404DB9E}" type="presParOf" srcId="{1698F9E1-A3D8-4EFD-904D-08E3DE860D25}" destId="{2E090597-9A1D-4DEB-9983-AE519065C4EB}" srcOrd="4" destOrd="0" presId="urn:microsoft.com/office/officeart/2008/layout/LinedList"/>
    <dgm:cxn modelId="{116A193E-CBC5-450E-B578-FE5401E6F3FE}" type="presParOf" srcId="{1698F9E1-A3D8-4EFD-904D-08E3DE860D25}" destId="{AB3DDD16-699F-434D-8C62-D5D75301A058}" srcOrd="5" destOrd="0" presId="urn:microsoft.com/office/officeart/2008/layout/LinedList"/>
    <dgm:cxn modelId="{F7FF40AD-9E00-4CE2-8A6D-645D7B2B911F}" type="presParOf" srcId="{AB3DDD16-699F-434D-8C62-D5D75301A058}" destId="{71AA1836-9397-4439-9FF6-E67A983DB256}" srcOrd="0" destOrd="0" presId="urn:microsoft.com/office/officeart/2008/layout/LinedList"/>
    <dgm:cxn modelId="{6B78BEE0-C831-475A-9A83-3E2086072F28}" type="presParOf" srcId="{AB3DDD16-699F-434D-8C62-D5D75301A058}" destId="{FFC268DE-AB4E-44FC-A908-8C775352FE93}" srcOrd="1" destOrd="0" presId="urn:microsoft.com/office/officeart/2008/layout/LinedList"/>
    <dgm:cxn modelId="{42ECC0B8-8515-44F1-B650-A5EF88689CDD}" type="presParOf" srcId="{1698F9E1-A3D8-4EFD-904D-08E3DE860D25}" destId="{E08187A4-8A56-42B2-A8C3-BDF498297FFC}" srcOrd="6" destOrd="0" presId="urn:microsoft.com/office/officeart/2008/layout/LinedList"/>
    <dgm:cxn modelId="{CC1ABB50-0243-4445-93A9-2BAFB42C3230}" type="presParOf" srcId="{1698F9E1-A3D8-4EFD-904D-08E3DE860D25}" destId="{058D570B-F3AA-485E-8D4F-08A8CBDF2159}" srcOrd="7" destOrd="0" presId="urn:microsoft.com/office/officeart/2008/layout/LinedList"/>
    <dgm:cxn modelId="{6428BC2A-9952-43A6-B969-97E98D8395E0}" type="presParOf" srcId="{058D570B-F3AA-485E-8D4F-08A8CBDF2159}" destId="{E64C23AA-AC95-4B07-B538-6A552C344042}" srcOrd="0" destOrd="0" presId="urn:microsoft.com/office/officeart/2008/layout/LinedList"/>
    <dgm:cxn modelId="{4F1E263B-0722-4539-A2A5-FDB37BAA1305}" type="presParOf" srcId="{058D570B-F3AA-485E-8D4F-08A8CBDF2159}" destId="{FF9BDC1F-104F-45A0-9EFF-CF2DCE3C34C2}" srcOrd="1" destOrd="0" presId="urn:microsoft.com/office/officeart/2008/layout/LinedList"/>
    <dgm:cxn modelId="{69DCC216-A6B8-4287-BC07-25FDFDFC65BA}" type="presParOf" srcId="{1698F9E1-A3D8-4EFD-904D-08E3DE860D25}" destId="{B06D20B3-D146-4756-B59F-F5E1C821FF5C}" srcOrd="8" destOrd="0" presId="urn:microsoft.com/office/officeart/2008/layout/LinedList"/>
    <dgm:cxn modelId="{E7CC91AA-B02B-4A7D-BAE1-78F346FEEB75}" type="presParOf" srcId="{1698F9E1-A3D8-4EFD-904D-08E3DE860D25}" destId="{695B6B75-67FF-4B39-ACC2-B6BF0CECF723}" srcOrd="9" destOrd="0" presId="urn:microsoft.com/office/officeart/2008/layout/LinedList"/>
    <dgm:cxn modelId="{10E91158-A6A4-4090-85C1-2A419707B56C}" type="presParOf" srcId="{695B6B75-67FF-4B39-ACC2-B6BF0CECF723}" destId="{1922DF97-8013-4683-A840-385C57BDD88B}" srcOrd="0" destOrd="0" presId="urn:microsoft.com/office/officeart/2008/layout/LinedList"/>
    <dgm:cxn modelId="{D9CC717B-E629-49EB-9A43-B7BE497128B9}" type="presParOf" srcId="{695B6B75-67FF-4B39-ACC2-B6BF0CECF723}" destId="{4DEA76FB-59C4-44E1-93AD-7CCB56099F30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17139B0-EAFF-471D-B2BE-62FFAA56E400}" type="doc">
      <dgm:prSet loTypeId="urn:microsoft.com/office/officeart/2008/layout/Lined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ru-RU"/>
        </a:p>
      </dgm:t>
    </dgm:pt>
    <dgm:pt modelId="{E1C0F46D-DFFE-4365-B4DB-2320ACFAEB40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Название клиента</a:t>
          </a:r>
          <a:endParaRPr lang="ru-RU" sz="1600" dirty="0"/>
        </a:p>
      </dgm:t>
    </dgm:pt>
    <dgm:pt modelId="{B9498AFC-E8D9-4802-A918-A940B7B2B3CA}" type="parTrans" cxnId="{1799843A-0AC1-4F65-8BEB-C64D34EA6485}">
      <dgm:prSet/>
      <dgm:spPr/>
      <dgm:t>
        <a:bodyPr/>
        <a:lstStyle/>
        <a:p>
          <a:endParaRPr lang="ru-RU" sz="1600"/>
        </a:p>
      </dgm:t>
    </dgm:pt>
    <dgm:pt modelId="{03593CD3-2AEF-4D88-A9C4-E9A4FABD883E}" type="sibTrans" cxnId="{1799843A-0AC1-4F65-8BEB-C64D34EA6485}">
      <dgm:prSet/>
      <dgm:spPr/>
      <dgm:t>
        <a:bodyPr/>
        <a:lstStyle/>
        <a:p>
          <a:endParaRPr lang="ru-RU" sz="1600"/>
        </a:p>
      </dgm:t>
    </dgm:pt>
    <dgm:pt modelId="{9BF45BC7-A2B0-49C4-B65B-110C031699D4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Название РК</a:t>
          </a:r>
          <a:endParaRPr lang="ru-RU" sz="1600" dirty="0"/>
        </a:p>
      </dgm:t>
    </dgm:pt>
    <dgm:pt modelId="{4843D871-2B9C-4B1B-9756-22DF5BC6D140}" type="parTrans" cxnId="{930A57CF-30E5-4687-BB7D-D8009915FD57}">
      <dgm:prSet/>
      <dgm:spPr/>
      <dgm:t>
        <a:bodyPr/>
        <a:lstStyle/>
        <a:p>
          <a:endParaRPr lang="ru-RU" sz="1600"/>
        </a:p>
      </dgm:t>
    </dgm:pt>
    <dgm:pt modelId="{08CA2BB3-E8AE-49F2-84E3-439840F0598E}" type="sibTrans" cxnId="{930A57CF-30E5-4687-BB7D-D8009915FD57}">
      <dgm:prSet/>
      <dgm:spPr/>
      <dgm:t>
        <a:bodyPr/>
        <a:lstStyle/>
        <a:p>
          <a:endParaRPr lang="ru-RU" sz="1600"/>
        </a:p>
      </dgm:t>
    </dgm:pt>
    <dgm:pt modelId="{0F3F8916-5B42-430D-A4CC-61D0D89B0701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Бриф (файл)</a:t>
          </a:r>
          <a:endParaRPr lang="ru-RU" sz="1600" dirty="0"/>
        </a:p>
      </dgm:t>
    </dgm:pt>
    <dgm:pt modelId="{A5EC94ED-430C-4667-842F-6E3870DAE1FA}" type="parTrans" cxnId="{585681FB-5CAA-4701-A93C-44C1B1EC40B5}">
      <dgm:prSet/>
      <dgm:spPr/>
      <dgm:t>
        <a:bodyPr/>
        <a:lstStyle/>
        <a:p>
          <a:endParaRPr lang="ru-RU" sz="1600"/>
        </a:p>
      </dgm:t>
    </dgm:pt>
    <dgm:pt modelId="{F667BECA-73AD-4C4E-A8DA-5ECAC3F0B3C2}" type="sibTrans" cxnId="{585681FB-5CAA-4701-A93C-44C1B1EC40B5}">
      <dgm:prSet/>
      <dgm:spPr/>
      <dgm:t>
        <a:bodyPr/>
        <a:lstStyle/>
        <a:p>
          <a:endParaRPr lang="ru-RU" sz="1600"/>
        </a:p>
      </dgm:t>
    </dgm:pt>
    <dgm:pt modelId="{41522234-278D-4D50-9FF8-20D1AD20281E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Медиаплан (файл)</a:t>
          </a:r>
        </a:p>
      </dgm:t>
    </dgm:pt>
    <dgm:pt modelId="{257F8906-53A8-40E7-BEB1-F058EBF4307E}" type="parTrans" cxnId="{ED978F78-FA73-4C4E-9811-DCC23B85B3CD}">
      <dgm:prSet/>
      <dgm:spPr/>
      <dgm:t>
        <a:bodyPr/>
        <a:lstStyle/>
        <a:p>
          <a:endParaRPr lang="ru-RU" sz="1600"/>
        </a:p>
      </dgm:t>
    </dgm:pt>
    <dgm:pt modelId="{D3055905-7290-46ED-8460-58C46263601A}" type="sibTrans" cxnId="{ED978F78-FA73-4C4E-9811-DCC23B85B3CD}">
      <dgm:prSet/>
      <dgm:spPr/>
      <dgm:t>
        <a:bodyPr/>
        <a:lstStyle/>
        <a:p>
          <a:endParaRPr lang="ru-RU" sz="1600"/>
        </a:p>
      </dgm:t>
    </dgm:pt>
    <dgm:pt modelId="{48EDD1E4-08B1-4AB9-8623-C67868057D77}">
      <dgm:prSet phldrT="[Текст]" custT="1"/>
      <dgm:spPr/>
      <dgm:t>
        <a:bodyPr/>
        <a:lstStyle/>
        <a:p>
          <a:r>
            <a:rPr lang="ru-RU" sz="1600">
              <a:solidFill>
                <a:schemeClr val="tx1"/>
              </a:solidFill>
            </a:rPr>
            <a:t>Презентация (файл)</a:t>
          </a:r>
          <a:endParaRPr lang="ru-RU" sz="1600" dirty="0">
            <a:solidFill>
              <a:schemeClr val="tx1"/>
            </a:solidFill>
          </a:endParaRPr>
        </a:p>
      </dgm:t>
    </dgm:pt>
    <dgm:pt modelId="{A1646931-86E3-4997-BCCA-08569B059869}" type="parTrans" cxnId="{F77CD268-E383-4E2F-B7C3-415708E34AAB}">
      <dgm:prSet/>
      <dgm:spPr/>
      <dgm:t>
        <a:bodyPr/>
        <a:lstStyle/>
        <a:p>
          <a:endParaRPr lang="ru-RU" sz="1600"/>
        </a:p>
      </dgm:t>
    </dgm:pt>
    <dgm:pt modelId="{54AC5A07-D3A8-47DD-A705-6AB047F487CE}" type="sibTrans" cxnId="{F77CD268-E383-4E2F-B7C3-415708E34AAB}">
      <dgm:prSet/>
      <dgm:spPr/>
      <dgm:t>
        <a:bodyPr/>
        <a:lstStyle/>
        <a:p>
          <a:endParaRPr lang="ru-RU" sz="1600"/>
        </a:p>
      </dgm:t>
    </dgm:pt>
    <dgm:pt modelId="{E6E32A0D-EFB2-4A55-B432-60F441EC35DD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Комментарии</a:t>
          </a:r>
        </a:p>
      </dgm:t>
    </dgm:pt>
    <dgm:pt modelId="{77E8B7CD-9D13-4FE9-B868-C9C6E78CE1DD}" type="parTrans" cxnId="{869FF4C1-AFA9-4792-8F92-B9D7A2185A79}">
      <dgm:prSet/>
      <dgm:spPr/>
      <dgm:t>
        <a:bodyPr/>
        <a:lstStyle/>
        <a:p>
          <a:endParaRPr lang="ru-RU" sz="1600"/>
        </a:p>
      </dgm:t>
    </dgm:pt>
    <dgm:pt modelId="{A558D97B-4F20-404A-A5E6-43C28F340F63}" type="sibTrans" cxnId="{869FF4C1-AFA9-4792-8F92-B9D7A2185A79}">
      <dgm:prSet/>
      <dgm:spPr/>
      <dgm:t>
        <a:bodyPr/>
        <a:lstStyle/>
        <a:p>
          <a:endParaRPr lang="ru-RU" sz="1600"/>
        </a:p>
      </dgm:t>
    </dgm:pt>
    <dgm:pt modelId="{B30AB986-1D90-4754-B4FA-2B735D7982E6}" type="pres">
      <dgm:prSet presAssocID="{C17139B0-EAFF-471D-B2BE-62FFAA56E400}" presName="vert0" presStyleCnt="0">
        <dgm:presLayoutVars>
          <dgm:dir/>
          <dgm:animOne val="branch"/>
          <dgm:animLvl val="lvl"/>
        </dgm:presLayoutVars>
      </dgm:prSet>
      <dgm:spPr/>
    </dgm:pt>
    <dgm:pt modelId="{CA4A1A25-4F3B-42FB-A13E-22DE12C8AC45}" type="pres">
      <dgm:prSet presAssocID="{E1C0F46D-DFFE-4365-B4DB-2320ACFAEB40}" presName="thickLine" presStyleLbl="alignNode1" presStyleIdx="0" presStyleCnt="1"/>
      <dgm:spPr/>
    </dgm:pt>
    <dgm:pt modelId="{5E1DBFFD-2407-4F5F-A742-10EDF56B11F3}" type="pres">
      <dgm:prSet presAssocID="{E1C0F46D-DFFE-4365-B4DB-2320ACFAEB40}" presName="horz1" presStyleCnt="0"/>
      <dgm:spPr/>
    </dgm:pt>
    <dgm:pt modelId="{74C29AAB-A07B-430E-814E-15AA48A69AD1}" type="pres">
      <dgm:prSet presAssocID="{E1C0F46D-DFFE-4365-B4DB-2320ACFAEB40}" presName="tx1" presStyleLbl="revTx" presStyleIdx="0" presStyleCnt="6"/>
      <dgm:spPr/>
    </dgm:pt>
    <dgm:pt modelId="{D3A63D69-DE5F-467D-A97B-E59D696BB725}" type="pres">
      <dgm:prSet presAssocID="{E1C0F46D-DFFE-4365-B4DB-2320ACFAEB40}" presName="vert1" presStyleCnt="0"/>
      <dgm:spPr/>
    </dgm:pt>
    <dgm:pt modelId="{A530D608-2988-457F-8B2A-95E084D44FEB}" type="pres">
      <dgm:prSet presAssocID="{9BF45BC7-A2B0-49C4-B65B-110C031699D4}" presName="vertSpace2a" presStyleCnt="0"/>
      <dgm:spPr/>
    </dgm:pt>
    <dgm:pt modelId="{5C0AD5DC-EB4F-44F8-9CEA-3E151FA627DB}" type="pres">
      <dgm:prSet presAssocID="{9BF45BC7-A2B0-49C4-B65B-110C031699D4}" presName="horz2" presStyleCnt="0"/>
      <dgm:spPr/>
    </dgm:pt>
    <dgm:pt modelId="{D39DB1BD-4D87-4C14-B568-1BA3A648E8ED}" type="pres">
      <dgm:prSet presAssocID="{9BF45BC7-A2B0-49C4-B65B-110C031699D4}" presName="horzSpace2" presStyleCnt="0"/>
      <dgm:spPr/>
    </dgm:pt>
    <dgm:pt modelId="{0BA41942-931C-4365-B029-633845481D3D}" type="pres">
      <dgm:prSet presAssocID="{9BF45BC7-A2B0-49C4-B65B-110C031699D4}" presName="tx2" presStyleLbl="revTx" presStyleIdx="1" presStyleCnt="6"/>
      <dgm:spPr/>
    </dgm:pt>
    <dgm:pt modelId="{1FA4ED30-650E-4F79-8231-52769C7EEC23}" type="pres">
      <dgm:prSet presAssocID="{9BF45BC7-A2B0-49C4-B65B-110C031699D4}" presName="vert2" presStyleCnt="0"/>
      <dgm:spPr/>
    </dgm:pt>
    <dgm:pt modelId="{868D8A03-E459-446E-8990-6F0C4DF29114}" type="pres">
      <dgm:prSet presAssocID="{9BF45BC7-A2B0-49C4-B65B-110C031699D4}" presName="thinLine2b" presStyleLbl="callout" presStyleIdx="0" presStyleCnt="5"/>
      <dgm:spPr/>
    </dgm:pt>
    <dgm:pt modelId="{D45E8D54-13A9-47B9-B083-95F254B7B195}" type="pres">
      <dgm:prSet presAssocID="{9BF45BC7-A2B0-49C4-B65B-110C031699D4}" presName="vertSpace2b" presStyleCnt="0"/>
      <dgm:spPr/>
    </dgm:pt>
    <dgm:pt modelId="{B24871A9-00E1-4430-95FA-4059BABBA264}" type="pres">
      <dgm:prSet presAssocID="{0F3F8916-5B42-430D-A4CC-61D0D89B0701}" presName="horz2" presStyleCnt="0"/>
      <dgm:spPr/>
    </dgm:pt>
    <dgm:pt modelId="{67C42B12-A5B0-481E-850E-2DC4E59E769D}" type="pres">
      <dgm:prSet presAssocID="{0F3F8916-5B42-430D-A4CC-61D0D89B0701}" presName="horzSpace2" presStyleCnt="0"/>
      <dgm:spPr/>
    </dgm:pt>
    <dgm:pt modelId="{990115F0-A25F-4EDF-87FA-91914F603EED}" type="pres">
      <dgm:prSet presAssocID="{0F3F8916-5B42-430D-A4CC-61D0D89B0701}" presName="tx2" presStyleLbl="revTx" presStyleIdx="2" presStyleCnt="6"/>
      <dgm:spPr/>
    </dgm:pt>
    <dgm:pt modelId="{7941F3CC-9559-4F42-A0F7-B67A7B4FEAD3}" type="pres">
      <dgm:prSet presAssocID="{0F3F8916-5B42-430D-A4CC-61D0D89B0701}" presName="vert2" presStyleCnt="0"/>
      <dgm:spPr/>
    </dgm:pt>
    <dgm:pt modelId="{8B98E3CE-57C7-4387-9974-F33C0F653AD4}" type="pres">
      <dgm:prSet presAssocID="{0F3F8916-5B42-430D-A4CC-61D0D89B0701}" presName="thinLine2b" presStyleLbl="callout" presStyleIdx="1" presStyleCnt="5"/>
      <dgm:spPr/>
    </dgm:pt>
    <dgm:pt modelId="{5BE6AD44-1158-4C7F-972E-CDB81A356981}" type="pres">
      <dgm:prSet presAssocID="{0F3F8916-5B42-430D-A4CC-61D0D89B0701}" presName="vertSpace2b" presStyleCnt="0"/>
      <dgm:spPr/>
    </dgm:pt>
    <dgm:pt modelId="{CD67EC44-F8EF-492E-B320-E030E0990F40}" type="pres">
      <dgm:prSet presAssocID="{41522234-278D-4D50-9FF8-20D1AD20281E}" presName="horz2" presStyleCnt="0"/>
      <dgm:spPr/>
    </dgm:pt>
    <dgm:pt modelId="{5788598C-D649-48B9-863D-FC8DD3444038}" type="pres">
      <dgm:prSet presAssocID="{41522234-278D-4D50-9FF8-20D1AD20281E}" presName="horzSpace2" presStyleCnt="0"/>
      <dgm:spPr/>
    </dgm:pt>
    <dgm:pt modelId="{892624DF-598D-49DF-97E7-A1CCD78F668B}" type="pres">
      <dgm:prSet presAssocID="{41522234-278D-4D50-9FF8-20D1AD20281E}" presName="tx2" presStyleLbl="revTx" presStyleIdx="3" presStyleCnt="6"/>
      <dgm:spPr/>
    </dgm:pt>
    <dgm:pt modelId="{A32CBA08-B528-43A5-9C2C-7DD1E00E986C}" type="pres">
      <dgm:prSet presAssocID="{41522234-278D-4D50-9FF8-20D1AD20281E}" presName="vert2" presStyleCnt="0"/>
      <dgm:spPr/>
    </dgm:pt>
    <dgm:pt modelId="{7D799D5A-F101-417F-96B3-1F141360D0C8}" type="pres">
      <dgm:prSet presAssocID="{41522234-278D-4D50-9FF8-20D1AD20281E}" presName="thinLine2b" presStyleLbl="callout" presStyleIdx="2" presStyleCnt="5"/>
      <dgm:spPr/>
    </dgm:pt>
    <dgm:pt modelId="{BC6A0CEC-4617-4038-85D7-FE66709FD4B0}" type="pres">
      <dgm:prSet presAssocID="{41522234-278D-4D50-9FF8-20D1AD20281E}" presName="vertSpace2b" presStyleCnt="0"/>
      <dgm:spPr/>
    </dgm:pt>
    <dgm:pt modelId="{2C6DEBFA-95EB-4579-89C8-9090EE99AC13}" type="pres">
      <dgm:prSet presAssocID="{48EDD1E4-08B1-4AB9-8623-C67868057D77}" presName="horz2" presStyleCnt="0"/>
      <dgm:spPr/>
    </dgm:pt>
    <dgm:pt modelId="{3D1ACA69-4128-4DD6-9507-7A5517943084}" type="pres">
      <dgm:prSet presAssocID="{48EDD1E4-08B1-4AB9-8623-C67868057D77}" presName="horzSpace2" presStyleCnt="0"/>
      <dgm:spPr/>
    </dgm:pt>
    <dgm:pt modelId="{C7C263E2-D1EA-4D30-9065-964990322363}" type="pres">
      <dgm:prSet presAssocID="{48EDD1E4-08B1-4AB9-8623-C67868057D77}" presName="tx2" presStyleLbl="revTx" presStyleIdx="4" presStyleCnt="6"/>
      <dgm:spPr/>
    </dgm:pt>
    <dgm:pt modelId="{5C671014-D1B0-4C89-BDFD-55A0F4C7E268}" type="pres">
      <dgm:prSet presAssocID="{48EDD1E4-08B1-4AB9-8623-C67868057D77}" presName="vert2" presStyleCnt="0"/>
      <dgm:spPr/>
    </dgm:pt>
    <dgm:pt modelId="{3DABD481-9FBF-425A-BCC8-731510C3C037}" type="pres">
      <dgm:prSet presAssocID="{48EDD1E4-08B1-4AB9-8623-C67868057D77}" presName="thinLine2b" presStyleLbl="callout" presStyleIdx="3" presStyleCnt="5"/>
      <dgm:spPr/>
    </dgm:pt>
    <dgm:pt modelId="{B0CB22DA-1B9E-4C80-85A0-D40B9627B58D}" type="pres">
      <dgm:prSet presAssocID="{48EDD1E4-08B1-4AB9-8623-C67868057D77}" presName="vertSpace2b" presStyleCnt="0"/>
      <dgm:spPr/>
    </dgm:pt>
    <dgm:pt modelId="{6525BE7A-DBBB-4598-A979-27030A89BE55}" type="pres">
      <dgm:prSet presAssocID="{E6E32A0D-EFB2-4A55-B432-60F441EC35DD}" presName="horz2" presStyleCnt="0"/>
      <dgm:spPr/>
    </dgm:pt>
    <dgm:pt modelId="{9F9F679A-6C56-4C13-85A3-B78D707D7189}" type="pres">
      <dgm:prSet presAssocID="{E6E32A0D-EFB2-4A55-B432-60F441EC35DD}" presName="horzSpace2" presStyleCnt="0"/>
      <dgm:spPr/>
    </dgm:pt>
    <dgm:pt modelId="{720DD233-8CF5-4FB0-B791-7A57A76340EC}" type="pres">
      <dgm:prSet presAssocID="{E6E32A0D-EFB2-4A55-B432-60F441EC35DD}" presName="tx2" presStyleLbl="revTx" presStyleIdx="5" presStyleCnt="6"/>
      <dgm:spPr/>
    </dgm:pt>
    <dgm:pt modelId="{20B68E98-650F-452B-9A26-1BFFD63F0AE8}" type="pres">
      <dgm:prSet presAssocID="{E6E32A0D-EFB2-4A55-B432-60F441EC35DD}" presName="vert2" presStyleCnt="0"/>
      <dgm:spPr/>
    </dgm:pt>
    <dgm:pt modelId="{6FB732E5-730E-44AB-87F2-A627F8EF4E96}" type="pres">
      <dgm:prSet presAssocID="{E6E32A0D-EFB2-4A55-B432-60F441EC35DD}" presName="thinLine2b" presStyleLbl="callout" presStyleIdx="4" presStyleCnt="5"/>
      <dgm:spPr/>
    </dgm:pt>
    <dgm:pt modelId="{BCD4E975-A005-4D25-9419-CA15F3ECEFDD}" type="pres">
      <dgm:prSet presAssocID="{E6E32A0D-EFB2-4A55-B432-60F441EC35DD}" presName="vertSpace2b" presStyleCnt="0"/>
      <dgm:spPr/>
    </dgm:pt>
  </dgm:ptLst>
  <dgm:cxnLst>
    <dgm:cxn modelId="{7034B00E-0D52-4DD3-8FD6-4E905DE0F762}" type="presOf" srcId="{E1C0F46D-DFFE-4365-B4DB-2320ACFAEB40}" destId="{74C29AAB-A07B-430E-814E-15AA48A69AD1}" srcOrd="0" destOrd="0" presId="urn:microsoft.com/office/officeart/2008/layout/LinedList"/>
    <dgm:cxn modelId="{ED95F522-EB50-4EF3-A58D-F761F0135BC0}" type="presOf" srcId="{E6E32A0D-EFB2-4A55-B432-60F441EC35DD}" destId="{720DD233-8CF5-4FB0-B791-7A57A76340EC}" srcOrd="0" destOrd="0" presId="urn:microsoft.com/office/officeart/2008/layout/LinedList"/>
    <dgm:cxn modelId="{9B554C35-2C4A-49CA-BC3A-2F74CCE77D80}" type="presOf" srcId="{C17139B0-EAFF-471D-B2BE-62FFAA56E400}" destId="{B30AB986-1D90-4754-B4FA-2B735D7982E6}" srcOrd="0" destOrd="0" presId="urn:microsoft.com/office/officeart/2008/layout/LinedList"/>
    <dgm:cxn modelId="{1799843A-0AC1-4F65-8BEB-C64D34EA6485}" srcId="{C17139B0-EAFF-471D-B2BE-62FFAA56E400}" destId="{E1C0F46D-DFFE-4365-B4DB-2320ACFAEB40}" srcOrd="0" destOrd="0" parTransId="{B9498AFC-E8D9-4802-A918-A940B7B2B3CA}" sibTransId="{03593CD3-2AEF-4D88-A9C4-E9A4FABD883E}"/>
    <dgm:cxn modelId="{26681C61-7E93-453F-9696-FA0404AF82C1}" type="presOf" srcId="{0F3F8916-5B42-430D-A4CC-61D0D89B0701}" destId="{990115F0-A25F-4EDF-87FA-91914F603EED}" srcOrd="0" destOrd="0" presId="urn:microsoft.com/office/officeart/2008/layout/LinedList"/>
    <dgm:cxn modelId="{F77CD268-E383-4E2F-B7C3-415708E34AAB}" srcId="{E1C0F46D-DFFE-4365-B4DB-2320ACFAEB40}" destId="{48EDD1E4-08B1-4AB9-8623-C67868057D77}" srcOrd="3" destOrd="0" parTransId="{A1646931-86E3-4997-BCCA-08569B059869}" sibTransId="{54AC5A07-D3A8-47DD-A705-6AB047F487CE}"/>
    <dgm:cxn modelId="{ED978F78-FA73-4C4E-9811-DCC23B85B3CD}" srcId="{E1C0F46D-DFFE-4365-B4DB-2320ACFAEB40}" destId="{41522234-278D-4D50-9FF8-20D1AD20281E}" srcOrd="2" destOrd="0" parTransId="{257F8906-53A8-40E7-BEB1-F058EBF4307E}" sibTransId="{D3055905-7290-46ED-8460-58C46263601A}"/>
    <dgm:cxn modelId="{694B428C-094F-4F53-A356-EE445EFCA52A}" type="presOf" srcId="{48EDD1E4-08B1-4AB9-8623-C67868057D77}" destId="{C7C263E2-D1EA-4D30-9065-964990322363}" srcOrd="0" destOrd="0" presId="urn:microsoft.com/office/officeart/2008/layout/LinedList"/>
    <dgm:cxn modelId="{867E6B95-3712-4BDF-BCF9-22896CFC5D3E}" type="presOf" srcId="{9BF45BC7-A2B0-49C4-B65B-110C031699D4}" destId="{0BA41942-931C-4365-B029-633845481D3D}" srcOrd="0" destOrd="0" presId="urn:microsoft.com/office/officeart/2008/layout/LinedList"/>
    <dgm:cxn modelId="{0FDF04B5-B709-40F9-8E03-A3942F73597E}" type="presOf" srcId="{41522234-278D-4D50-9FF8-20D1AD20281E}" destId="{892624DF-598D-49DF-97E7-A1CCD78F668B}" srcOrd="0" destOrd="0" presId="urn:microsoft.com/office/officeart/2008/layout/LinedList"/>
    <dgm:cxn modelId="{869FF4C1-AFA9-4792-8F92-B9D7A2185A79}" srcId="{E1C0F46D-DFFE-4365-B4DB-2320ACFAEB40}" destId="{E6E32A0D-EFB2-4A55-B432-60F441EC35DD}" srcOrd="4" destOrd="0" parTransId="{77E8B7CD-9D13-4FE9-B868-C9C6E78CE1DD}" sibTransId="{A558D97B-4F20-404A-A5E6-43C28F340F63}"/>
    <dgm:cxn modelId="{930A57CF-30E5-4687-BB7D-D8009915FD57}" srcId="{E1C0F46D-DFFE-4365-B4DB-2320ACFAEB40}" destId="{9BF45BC7-A2B0-49C4-B65B-110C031699D4}" srcOrd="0" destOrd="0" parTransId="{4843D871-2B9C-4B1B-9756-22DF5BC6D140}" sibTransId="{08CA2BB3-E8AE-49F2-84E3-439840F0598E}"/>
    <dgm:cxn modelId="{585681FB-5CAA-4701-A93C-44C1B1EC40B5}" srcId="{E1C0F46D-DFFE-4365-B4DB-2320ACFAEB40}" destId="{0F3F8916-5B42-430D-A4CC-61D0D89B0701}" srcOrd="1" destOrd="0" parTransId="{A5EC94ED-430C-4667-842F-6E3870DAE1FA}" sibTransId="{F667BECA-73AD-4C4E-A8DA-5ECAC3F0B3C2}"/>
    <dgm:cxn modelId="{0C1A619D-034C-4244-A100-D8AE1143E884}" type="presParOf" srcId="{B30AB986-1D90-4754-B4FA-2B735D7982E6}" destId="{CA4A1A25-4F3B-42FB-A13E-22DE12C8AC45}" srcOrd="0" destOrd="0" presId="urn:microsoft.com/office/officeart/2008/layout/LinedList"/>
    <dgm:cxn modelId="{510EC012-FC48-4573-B72E-1434A2F995B8}" type="presParOf" srcId="{B30AB986-1D90-4754-B4FA-2B735D7982E6}" destId="{5E1DBFFD-2407-4F5F-A742-10EDF56B11F3}" srcOrd="1" destOrd="0" presId="urn:microsoft.com/office/officeart/2008/layout/LinedList"/>
    <dgm:cxn modelId="{BB525BD4-0857-4FEF-BB51-7435882FDCA0}" type="presParOf" srcId="{5E1DBFFD-2407-4F5F-A742-10EDF56B11F3}" destId="{74C29AAB-A07B-430E-814E-15AA48A69AD1}" srcOrd="0" destOrd="0" presId="urn:microsoft.com/office/officeart/2008/layout/LinedList"/>
    <dgm:cxn modelId="{8EAE03EF-D5F6-4B6C-9AF7-E30B139E4D0E}" type="presParOf" srcId="{5E1DBFFD-2407-4F5F-A742-10EDF56B11F3}" destId="{D3A63D69-DE5F-467D-A97B-E59D696BB725}" srcOrd="1" destOrd="0" presId="urn:microsoft.com/office/officeart/2008/layout/LinedList"/>
    <dgm:cxn modelId="{BEF16CBA-4669-4727-98E9-57F578DA6FB6}" type="presParOf" srcId="{D3A63D69-DE5F-467D-A97B-E59D696BB725}" destId="{A530D608-2988-457F-8B2A-95E084D44FEB}" srcOrd="0" destOrd="0" presId="urn:microsoft.com/office/officeart/2008/layout/LinedList"/>
    <dgm:cxn modelId="{BD1BDFE8-5538-4484-8583-52F5DEC95027}" type="presParOf" srcId="{D3A63D69-DE5F-467D-A97B-E59D696BB725}" destId="{5C0AD5DC-EB4F-44F8-9CEA-3E151FA627DB}" srcOrd="1" destOrd="0" presId="urn:microsoft.com/office/officeart/2008/layout/LinedList"/>
    <dgm:cxn modelId="{BB76FFCD-9FB5-4600-B30D-322F2CDA901D}" type="presParOf" srcId="{5C0AD5DC-EB4F-44F8-9CEA-3E151FA627DB}" destId="{D39DB1BD-4D87-4C14-B568-1BA3A648E8ED}" srcOrd="0" destOrd="0" presId="urn:microsoft.com/office/officeart/2008/layout/LinedList"/>
    <dgm:cxn modelId="{01397353-DBCB-43F4-B919-EBB966A6F784}" type="presParOf" srcId="{5C0AD5DC-EB4F-44F8-9CEA-3E151FA627DB}" destId="{0BA41942-931C-4365-B029-633845481D3D}" srcOrd="1" destOrd="0" presId="urn:microsoft.com/office/officeart/2008/layout/LinedList"/>
    <dgm:cxn modelId="{DA851E16-0798-4043-97FF-CD8E33586A0C}" type="presParOf" srcId="{5C0AD5DC-EB4F-44F8-9CEA-3E151FA627DB}" destId="{1FA4ED30-650E-4F79-8231-52769C7EEC23}" srcOrd="2" destOrd="0" presId="urn:microsoft.com/office/officeart/2008/layout/LinedList"/>
    <dgm:cxn modelId="{6E0A051C-EE19-40AC-9BF0-8661E891A2EF}" type="presParOf" srcId="{D3A63D69-DE5F-467D-A97B-E59D696BB725}" destId="{868D8A03-E459-446E-8990-6F0C4DF29114}" srcOrd="2" destOrd="0" presId="urn:microsoft.com/office/officeart/2008/layout/LinedList"/>
    <dgm:cxn modelId="{AA2FAE40-51E5-43B0-8F12-1D74C623513F}" type="presParOf" srcId="{D3A63D69-DE5F-467D-A97B-E59D696BB725}" destId="{D45E8D54-13A9-47B9-B083-95F254B7B195}" srcOrd="3" destOrd="0" presId="urn:microsoft.com/office/officeart/2008/layout/LinedList"/>
    <dgm:cxn modelId="{D0499D42-86A3-44ED-9207-4AD46D672158}" type="presParOf" srcId="{D3A63D69-DE5F-467D-A97B-E59D696BB725}" destId="{B24871A9-00E1-4430-95FA-4059BABBA264}" srcOrd="4" destOrd="0" presId="urn:microsoft.com/office/officeart/2008/layout/LinedList"/>
    <dgm:cxn modelId="{ADA93B3C-9874-4B8C-A1AA-6E542995C18D}" type="presParOf" srcId="{B24871A9-00E1-4430-95FA-4059BABBA264}" destId="{67C42B12-A5B0-481E-850E-2DC4E59E769D}" srcOrd="0" destOrd="0" presId="urn:microsoft.com/office/officeart/2008/layout/LinedList"/>
    <dgm:cxn modelId="{57D7E29C-9AAD-4ED1-BD74-910DB9FC09F6}" type="presParOf" srcId="{B24871A9-00E1-4430-95FA-4059BABBA264}" destId="{990115F0-A25F-4EDF-87FA-91914F603EED}" srcOrd="1" destOrd="0" presId="urn:microsoft.com/office/officeart/2008/layout/LinedList"/>
    <dgm:cxn modelId="{2275D17D-5E2F-435C-BDDA-EED743CD3ABE}" type="presParOf" srcId="{B24871A9-00E1-4430-95FA-4059BABBA264}" destId="{7941F3CC-9559-4F42-A0F7-B67A7B4FEAD3}" srcOrd="2" destOrd="0" presId="urn:microsoft.com/office/officeart/2008/layout/LinedList"/>
    <dgm:cxn modelId="{63CE6612-A0C9-4C2E-865B-F781600BC771}" type="presParOf" srcId="{D3A63D69-DE5F-467D-A97B-E59D696BB725}" destId="{8B98E3CE-57C7-4387-9974-F33C0F653AD4}" srcOrd="5" destOrd="0" presId="urn:microsoft.com/office/officeart/2008/layout/LinedList"/>
    <dgm:cxn modelId="{88BB161C-57CE-419A-8DAC-8988EBEF9E8E}" type="presParOf" srcId="{D3A63D69-DE5F-467D-A97B-E59D696BB725}" destId="{5BE6AD44-1158-4C7F-972E-CDB81A356981}" srcOrd="6" destOrd="0" presId="urn:microsoft.com/office/officeart/2008/layout/LinedList"/>
    <dgm:cxn modelId="{F60FDD48-CE63-456D-A11B-F2ED1A56AB44}" type="presParOf" srcId="{D3A63D69-DE5F-467D-A97B-E59D696BB725}" destId="{CD67EC44-F8EF-492E-B320-E030E0990F40}" srcOrd="7" destOrd="0" presId="urn:microsoft.com/office/officeart/2008/layout/LinedList"/>
    <dgm:cxn modelId="{82F8CC1F-56F5-447D-B626-AFF13B593876}" type="presParOf" srcId="{CD67EC44-F8EF-492E-B320-E030E0990F40}" destId="{5788598C-D649-48B9-863D-FC8DD3444038}" srcOrd="0" destOrd="0" presId="urn:microsoft.com/office/officeart/2008/layout/LinedList"/>
    <dgm:cxn modelId="{717909AC-1386-4C3F-AC1A-2D433FAA8309}" type="presParOf" srcId="{CD67EC44-F8EF-492E-B320-E030E0990F40}" destId="{892624DF-598D-49DF-97E7-A1CCD78F668B}" srcOrd="1" destOrd="0" presId="urn:microsoft.com/office/officeart/2008/layout/LinedList"/>
    <dgm:cxn modelId="{B6750E13-EAF8-46F9-AEBF-9EB6457C7750}" type="presParOf" srcId="{CD67EC44-F8EF-492E-B320-E030E0990F40}" destId="{A32CBA08-B528-43A5-9C2C-7DD1E00E986C}" srcOrd="2" destOrd="0" presId="urn:microsoft.com/office/officeart/2008/layout/LinedList"/>
    <dgm:cxn modelId="{F31CF1B7-9211-4292-9C96-56CB01A075B9}" type="presParOf" srcId="{D3A63D69-DE5F-467D-A97B-E59D696BB725}" destId="{7D799D5A-F101-417F-96B3-1F141360D0C8}" srcOrd="8" destOrd="0" presId="urn:microsoft.com/office/officeart/2008/layout/LinedList"/>
    <dgm:cxn modelId="{605E746C-B4D4-4DFB-ABB4-059FB0E96D06}" type="presParOf" srcId="{D3A63D69-DE5F-467D-A97B-E59D696BB725}" destId="{BC6A0CEC-4617-4038-85D7-FE66709FD4B0}" srcOrd="9" destOrd="0" presId="urn:microsoft.com/office/officeart/2008/layout/LinedList"/>
    <dgm:cxn modelId="{4F9E2A90-6107-46E3-8162-1536C7A5396C}" type="presParOf" srcId="{D3A63D69-DE5F-467D-A97B-E59D696BB725}" destId="{2C6DEBFA-95EB-4579-89C8-9090EE99AC13}" srcOrd="10" destOrd="0" presId="urn:microsoft.com/office/officeart/2008/layout/LinedList"/>
    <dgm:cxn modelId="{774B3EC4-1898-4A66-A049-7FB7A26412D5}" type="presParOf" srcId="{2C6DEBFA-95EB-4579-89C8-9090EE99AC13}" destId="{3D1ACA69-4128-4DD6-9507-7A5517943084}" srcOrd="0" destOrd="0" presId="urn:microsoft.com/office/officeart/2008/layout/LinedList"/>
    <dgm:cxn modelId="{DDB29B48-0314-4D19-A766-94E0845DA302}" type="presParOf" srcId="{2C6DEBFA-95EB-4579-89C8-9090EE99AC13}" destId="{C7C263E2-D1EA-4D30-9065-964990322363}" srcOrd="1" destOrd="0" presId="urn:microsoft.com/office/officeart/2008/layout/LinedList"/>
    <dgm:cxn modelId="{74828ACE-9CB9-4775-92EA-DD3A6C80EA8C}" type="presParOf" srcId="{2C6DEBFA-95EB-4579-89C8-9090EE99AC13}" destId="{5C671014-D1B0-4C89-BDFD-55A0F4C7E268}" srcOrd="2" destOrd="0" presId="urn:microsoft.com/office/officeart/2008/layout/LinedList"/>
    <dgm:cxn modelId="{BFB65301-BCFC-4BAA-800C-90C084742EE5}" type="presParOf" srcId="{D3A63D69-DE5F-467D-A97B-E59D696BB725}" destId="{3DABD481-9FBF-425A-BCC8-731510C3C037}" srcOrd="11" destOrd="0" presId="urn:microsoft.com/office/officeart/2008/layout/LinedList"/>
    <dgm:cxn modelId="{2AEB8B28-06C3-45DA-9E9B-4F08B533ACD9}" type="presParOf" srcId="{D3A63D69-DE5F-467D-A97B-E59D696BB725}" destId="{B0CB22DA-1B9E-4C80-85A0-D40B9627B58D}" srcOrd="12" destOrd="0" presId="urn:microsoft.com/office/officeart/2008/layout/LinedList"/>
    <dgm:cxn modelId="{B1EC66C5-3140-4320-92E0-76F50346067E}" type="presParOf" srcId="{D3A63D69-DE5F-467D-A97B-E59D696BB725}" destId="{6525BE7A-DBBB-4598-A979-27030A89BE55}" srcOrd="13" destOrd="0" presId="urn:microsoft.com/office/officeart/2008/layout/LinedList"/>
    <dgm:cxn modelId="{5962FEF6-7C71-4CC7-BFC8-0A9B3EED27D7}" type="presParOf" srcId="{6525BE7A-DBBB-4598-A979-27030A89BE55}" destId="{9F9F679A-6C56-4C13-85A3-B78D707D7189}" srcOrd="0" destOrd="0" presId="urn:microsoft.com/office/officeart/2008/layout/LinedList"/>
    <dgm:cxn modelId="{139BA537-FBE5-4F34-8848-2C82A8CA6EDF}" type="presParOf" srcId="{6525BE7A-DBBB-4598-A979-27030A89BE55}" destId="{720DD233-8CF5-4FB0-B791-7A57A76340EC}" srcOrd="1" destOrd="0" presId="urn:microsoft.com/office/officeart/2008/layout/LinedList"/>
    <dgm:cxn modelId="{3B03A28F-3B12-4C2A-B60F-B4B4161F9FEE}" type="presParOf" srcId="{6525BE7A-DBBB-4598-A979-27030A89BE55}" destId="{20B68E98-650F-452B-9A26-1BFFD63F0AE8}" srcOrd="2" destOrd="0" presId="urn:microsoft.com/office/officeart/2008/layout/LinedList"/>
    <dgm:cxn modelId="{3547082D-655E-4F8F-9F57-E7B7EC20F895}" type="presParOf" srcId="{D3A63D69-DE5F-467D-A97B-E59D696BB725}" destId="{6FB732E5-730E-44AB-87F2-A627F8EF4E96}" srcOrd="14" destOrd="0" presId="urn:microsoft.com/office/officeart/2008/layout/LinedList"/>
    <dgm:cxn modelId="{7358EDEF-9520-4E62-AACC-B4F60D25CD54}" type="presParOf" srcId="{D3A63D69-DE5F-467D-A97B-E59D696BB725}" destId="{BCD4E975-A005-4D25-9419-CA15F3ECEFDD}" srcOrd="15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17139B0-EAFF-471D-B2BE-62FFAA56E400}" type="doc">
      <dgm:prSet loTypeId="urn:microsoft.com/office/officeart/2008/layout/Lined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ru-RU"/>
        </a:p>
      </dgm:t>
    </dgm:pt>
    <dgm:pt modelId="{E1C0F46D-DFFE-4365-B4DB-2320ACFAEB40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Название клиента</a:t>
          </a:r>
          <a:endParaRPr lang="ru-RU" sz="1600" dirty="0"/>
        </a:p>
      </dgm:t>
    </dgm:pt>
    <dgm:pt modelId="{B9498AFC-E8D9-4802-A918-A940B7B2B3CA}" type="parTrans" cxnId="{1799843A-0AC1-4F65-8BEB-C64D34EA6485}">
      <dgm:prSet/>
      <dgm:spPr/>
      <dgm:t>
        <a:bodyPr/>
        <a:lstStyle/>
        <a:p>
          <a:endParaRPr lang="ru-RU" sz="1600"/>
        </a:p>
      </dgm:t>
    </dgm:pt>
    <dgm:pt modelId="{03593CD3-2AEF-4D88-A9C4-E9A4FABD883E}" type="sibTrans" cxnId="{1799843A-0AC1-4F65-8BEB-C64D34EA6485}">
      <dgm:prSet/>
      <dgm:spPr/>
      <dgm:t>
        <a:bodyPr/>
        <a:lstStyle/>
        <a:p>
          <a:endParaRPr lang="ru-RU" sz="1600"/>
        </a:p>
      </dgm:t>
    </dgm:pt>
    <dgm:pt modelId="{9BF45BC7-A2B0-49C4-B65B-110C031699D4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Название РК</a:t>
          </a:r>
          <a:endParaRPr lang="ru-RU" sz="1600" dirty="0"/>
        </a:p>
      </dgm:t>
    </dgm:pt>
    <dgm:pt modelId="{4843D871-2B9C-4B1B-9756-22DF5BC6D140}" type="parTrans" cxnId="{930A57CF-30E5-4687-BB7D-D8009915FD57}">
      <dgm:prSet/>
      <dgm:spPr/>
      <dgm:t>
        <a:bodyPr/>
        <a:lstStyle/>
        <a:p>
          <a:endParaRPr lang="ru-RU" sz="1600"/>
        </a:p>
      </dgm:t>
    </dgm:pt>
    <dgm:pt modelId="{08CA2BB3-E8AE-49F2-84E3-439840F0598E}" type="sibTrans" cxnId="{930A57CF-30E5-4687-BB7D-D8009915FD57}">
      <dgm:prSet/>
      <dgm:spPr/>
      <dgm:t>
        <a:bodyPr/>
        <a:lstStyle/>
        <a:p>
          <a:endParaRPr lang="ru-RU" sz="1600"/>
        </a:p>
      </dgm:t>
    </dgm:pt>
    <dgm:pt modelId="{0F3F8916-5B42-430D-A4CC-61D0D89B0701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Медиаплан (файл)</a:t>
          </a:r>
          <a:endParaRPr lang="ru-RU" sz="1600" dirty="0"/>
        </a:p>
      </dgm:t>
    </dgm:pt>
    <dgm:pt modelId="{A5EC94ED-430C-4667-842F-6E3870DAE1FA}" type="parTrans" cxnId="{585681FB-5CAA-4701-A93C-44C1B1EC40B5}">
      <dgm:prSet/>
      <dgm:spPr/>
      <dgm:t>
        <a:bodyPr/>
        <a:lstStyle/>
        <a:p>
          <a:endParaRPr lang="ru-RU" sz="1600"/>
        </a:p>
      </dgm:t>
    </dgm:pt>
    <dgm:pt modelId="{F667BECA-73AD-4C4E-A8DA-5ECAC3F0B3C2}" type="sibTrans" cxnId="{585681FB-5CAA-4701-A93C-44C1B1EC40B5}">
      <dgm:prSet/>
      <dgm:spPr/>
      <dgm:t>
        <a:bodyPr/>
        <a:lstStyle/>
        <a:p>
          <a:endParaRPr lang="ru-RU" sz="1600"/>
        </a:p>
      </dgm:t>
    </dgm:pt>
    <dgm:pt modelId="{41522234-278D-4D50-9FF8-20D1AD20281E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Доступы к </a:t>
          </a:r>
          <a:r>
            <a:rPr lang="en-US" sz="1600" dirty="0">
              <a:solidFill>
                <a:schemeClr val="tx1"/>
              </a:solidFill>
            </a:rPr>
            <a:t>GTM</a:t>
          </a:r>
          <a:r>
            <a:rPr lang="ru-RU" sz="1600" dirty="0">
              <a:solidFill>
                <a:schemeClr val="tx1"/>
              </a:solidFill>
            </a:rPr>
            <a:t> и т.п.</a:t>
          </a:r>
        </a:p>
      </dgm:t>
    </dgm:pt>
    <dgm:pt modelId="{257F8906-53A8-40E7-BEB1-F058EBF4307E}" type="parTrans" cxnId="{ED978F78-FA73-4C4E-9811-DCC23B85B3CD}">
      <dgm:prSet/>
      <dgm:spPr/>
      <dgm:t>
        <a:bodyPr/>
        <a:lstStyle/>
        <a:p>
          <a:endParaRPr lang="ru-RU" sz="1600"/>
        </a:p>
      </dgm:t>
    </dgm:pt>
    <dgm:pt modelId="{D3055905-7290-46ED-8460-58C46263601A}" type="sibTrans" cxnId="{ED978F78-FA73-4C4E-9811-DCC23B85B3CD}">
      <dgm:prSet/>
      <dgm:spPr/>
      <dgm:t>
        <a:bodyPr/>
        <a:lstStyle/>
        <a:p>
          <a:endParaRPr lang="ru-RU" sz="1600"/>
        </a:p>
      </dgm:t>
    </dgm:pt>
    <dgm:pt modelId="{48EDD1E4-08B1-4AB9-8623-C67868057D77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Ссылка на сайт (посадочная) </a:t>
          </a:r>
          <a:r>
            <a:rPr lang="en-US" sz="1600" dirty="0">
              <a:solidFill>
                <a:schemeClr val="tx1"/>
              </a:solidFill>
            </a:rPr>
            <a:t>Utm </a:t>
          </a:r>
          <a:r>
            <a:rPr lang="ru-RU" sz="1600" dirty="0">
              <a:solidFill>
                <a:schemeClr val="tx1"/>
              </a:solidFill>
            </a:rPr>
            <a:t>(файл)</a:t>
          </a:r>
        </a:p>
      </dgm:t>
    </dgm:pt>
    <dgm:pt modelId="{A1646931-86E3-4997-BCCA-08569B059869}" type="parTrans" cxnId="{F77CD268-E383-4E2F-B7C3-415708E34AAB}">
      <dgm:prSet/>
      <dgm:spPr/>
      <dgm:t>
        <a:bodyPr/>
        <a:lstStyle/>
        <a:p>
          <a:endParaRPr lang="ru-RU" sz="1600"/>
        </a:p>
      </dgm:t>
    </dgm:pt>
    <dgm:pt modelId="{54AC5A07-D3A8-47DD-A705-6AB047F487CE}" type="sibTrans" cxnId="{F77CD268-E383-4E2F-B7C3-415708E34AAB}">
      <dgm:prSet/>
      <dgm:spPr/>
      <dgm:t>
        <a:bodyPr/>
        <a:lstStyle/>
        <a:p>
          <a:endParaRPr lang="ru-RU" sz="1600"/>
        </a:p>
      </dgm:t>
    </dgm:pt>
    <dgm:pt modelId="{E6E32A0D-EFB2-4A55-B432-60F441EC35DD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Материалы (файлы)</a:t>
          </a:r>
        </a:p>
      </dgm:t>
    </dgm:pt>
    <dgm:pt modelId="{77E8B7CD-9D13-4FE9-B868-C9C6E78CE1DD}" type="parTrans" cxnId="{869FF4C1-AFA9-4792-8F92-B9D7A2185A79}">
      <dgm:prSet/>
      <dgm:spPr/>
      <dgm:t>
        <a:bodyPr/>
        <a:lstStyle/>
        <a:p>
          <a:endParaRPr lang="ru-RU" sz="1600"/>
        </a:p>
      </dgm:t>
    </dgm:pt>
    <dgm:pt modelId="{A558D97B-4F20-404A-A5E6-43C28F340F63}" type="sibTrans" cxnId="{869FF4C1-AFA9-4792-8F92-B9D7A2185A79}">
      <dgm:prSet/>
      <dgm:spPr/>
      <dgm:t>
        <a:bodyPr/>
        <a:lstStyle/>
        <a:p>
          <a:endParaRPr lang="ru-RU" sz="1600"/>
        </a:p>
      </dgm:t>
    </dgm:pt>
    <dgm:pt modelId="{460DC707-14BC-48FB-8132-A6520D6CFFD1}">
      <dgm:prSet phldrT="[Текст]" custT="1"/>
      <dgm:spPr/>
      <dgm:t>
        <a:bodyPr/>
        <a:lstStyle/>
        <a:p>
          <a:r>
            <a:rPr lang="ru-RU" sz="1600" dirty="0">
              <a:solidFill>
                <a:schemeClr val="tx1"/>
              </a:solidFill>
            </a:rPr>
            <a:t>Статус запуска (списком) </a:t>
          </a:r>
        </a:p>
      </dgm:t>
    </dgm:pt>
    <dgm:pt modelId="{C2022461-3C47-46D3-B398-08055AB0608D}" type="parTrans" cxnId="{1295077B-EAF9-4C5F-9529-188FCBF1C55A}">
      <dgm:prSet/>
      <dgm:spPr/>
      <dgm:t>
        <a:bodyPr/>
        <a:lstStyle/>
        <a:p>
          <a:endParaRPr lang="ru-RU"/>
        </a:p>
      </dgm:t>
    </dgm:pt>
    <dgm:pt modelId="{51560F20-C54C-4364-BC37-FA88188E94FA}" type="sibTrans" cxnId="{1295077B-EAF9-4C5F-9529-188FCBF1C55A}">
      <dgm:prSet/>
      <dgm:spPr/>
      <dgm:t>
        <a:bodyPr/>
        <a:lstStyle/>
        <a:p>
          <a:endParaRPr lang="ru-RU"/>
        </a:p>
      </dgm:t>
    </dgm:pt>
    <dgm:pt modelId="{B30AB986-1D90-4754-B4FA-2B735D7982E6}" type="pres">
      <dgm:prSet presAssocID="{C17139B0-EAFF-471D-B2BE-62FFAA56E400}" presName="vert0" presStyleCnt="0">
        <dgm:presLayoutVars>
          <dgm:dir/>
          <dgm:animOne val="branch"/>
          <dgm:animLvl val="lvl"/>
        </dgm:presLayoutVars>
      </dgm:prSet>
      <dgm:spPr/>
    </dgm:pt>
    <dgm:pt modelId="{CA4A1A25-4F3B-42FB-A13E-22DE12C8AC45}" type="pres">
      <dgm:prSet presAssocID="{E1C0F46D-DFFE-4365-B4DB-2320ACFAEB40}" presName="thickLine" presStyleLbl="alignNode1" presStyleIdx="0" presStyleCnt="1"/>
      <dgm:spPr/>
    </dgm:pt>
    <dgm:pt modelId="{5E1DBFFD-2407-4F5F-A742-10EDF56B11F3}" type="pres">
      <dgm:prSet presAssocID="{E1C0F46D-DFFE-4365-B4DB-2320ACFAEB40}" presName="horz1" presStyleCnt="0"/>
      <dgm:spPr/>
    </dgm:pt>
    <dgm:pt modelId="{74C29AAB-A07B-430E-814E-15AA48A69AD1}" type="pres">
      <dgm:prSet presAssocID="{E1C0F46D-DFFE-4365-B4DB-2320ACFAEB40}" presName="tx1" presStyleLbl="revTx" presStyleIdx="0" presStyleCnt="7"/>
      <dgm:spPr/>
    </dgm:pt>
    <dgm:pt modelId="{D3A63D69-DE5F-467D-A97B-E59D696BB725}" type="pres">
      <dgm:prSet presAssocID="{E1C0F46D-DFFE-4365-B4DB-2320ACFAEB40}" presName="vert1" presStyleCnt="0"/>
      <dgm:spPr/>
    </dgm:pt>
    <dgm:pt modelId="{A530D608-2988-457F-8B2A-95E084D44FEB}" type="pres">
      <dgm:prSet presAssocID="{9BF45BC7-A2B0-49C4-B65B-110C031699D4}" presName="vertSpace2a" presStyleCnt="0"/>
      <dgm:spPr/>
    </dgm:pt>
    <dgm:pt modelId="{5C0AD5DC-EB4F-44F8-9CEA-3E151FA627DB}" type="pres">
      <dgm:prSet presAssocID="{9BF45BC7-A2B0-49C4-B65B-110C031699D4}" presName="horz2" presStyleCnt="0"/>
      <dgm:spPr/>
    </dgm:pt>
    <dgm:pt modelId="{D39DB1BD-4D87-4C14-B568-1BA3A648E8ED}" type="pres">
      <dgm:prSet presAssocID="{9BF45BC7-A2B0-49C4-B65B-110C031699D4}" presName="horzSpace2" presStyleCnt="0"/>
      <dgm:spPr/>
    </dgm:pt>
    <dgm:pt modelId="{0BA41942-931C-4365-B029-633845481D3D}" type="pres">
      <dgm:prSet presAssocID="{9BF45BC7-A2B0-49C4-B65B-110C031699D4}" presName="tx2" presStyleLbl="revTx" presStyleIdx="1" presStyleCnt="7"/>
      <dgm:spPr/>
    </dgm:pt>
    <dgm:pt modelId="{1FA4ED30-650E-4F79-8231-52769C7EEC23}" type="pres">
      <dgm:prSet presAssocID="{9BF45BC7-A2B0-49C4-B65B-110C031699D4}" presName="vert2" presStyleCnt="0"/>
      <dgm:spPr/>
    </dgm:pt>
    <dgm:pt modelId="{868D8A03-E459-446E-8990-6F0C4DF29114}" type="pres">
      <dgm:prSet presAssocID="{9BF45BC7-A2B0-49C4-B65B-110C031699D4}" presName="thinLine2b" presStyleLbl="callout" presStyleIdx="0" presStyleCnt="6"/>
      <dgm:spPr/>
    </dgm:pt>
    <dgm:pt modelId="{D45E8D54-13A9-47B9-B083-95F254B7B195}" type="pres">
      <dgm:prSet presAssocID="{9BF45BC7-A2B0-49C4-B65B-110C031699D4}" presName="vertSpace2b" presStyleCnt="0"/>
      <dgm:spPr/>
    </dgm:pt>
    <dgm:pt modelId="{B24871A9-00E1-4430-95FA-4059BABBA264}" type="pres">
      <dgm:prSet presAssocID="{0F3F8916-5B42-430D-A4CC-61D0D89B0701}" presName="horz2" presStyleCnt="0"/>
      <dgm:spPr/>
    </dgm:pt>
    <dgm:pt modelId="{67C42B12-A5B0-481E-850E-2DC4E59E769D}" type="pres">
      <dgm:prSet presAssocID="{0F3F8916-5B42-430D-A4CC-61D0D89B0701}" presName="horzSpace2" presStyleCnt="0"/>
      <dgm:spPr/>
    </dgm:pt>
    <dgm:pt modelId="{990115F0-A25F-4EDF-87FA-91914F603EED}" type="pres">
      <dgm:prSet presAssocID="{0F3F8916-5B42-430D-A4CC-61D0D89B0701}" presName="tx2" presStyleLbl="revTx" presStyleIdx="2" presStyleCnt="7"/>
      <dgm:spPr/>
    </dgm:pt>
    <dgm:pt modelId="{7941F3CC-9559-4F42-A0F7-B67A7B4FEAD3}" type="pres">
      <dgm:prSet presAssocID="{0F3F8916-5B42-430D-A4CC-61D0D89B0701}" presName="vert2" presStyleCnt="0"/>
      <dgm:spPr/>
    </dgm:pt>
    <dgm:pt modelId="{8B98E3CE-57C7-4387-9974-F33C0F653AD4}" type="pres">
      <dgm:prSet presAssocID="{0F3F8916-5B42-430D-A4CC-61D0D89B0701}" presName="thinLine2b" presStyleLbl="callout" presStyleIdx="1" presStyleCnt="6"/>
      <dgm:spPr/>
    </dgm:pt>
    <dgm:pt modelId="{5BE6AD44-1158-4C7F-972E-CDB81A356981}" type="pres">
      <dgm:prSet presAssocID="{0F3F8916-5B42-430D-A4CC-61D0D89B0701}" presName="vertSpace2b" presStyleCnt="0"/>
      <dgm:spPr/>
    </dgm:pt>
    <dgm:pt modelId="{CD67EC44-F8EF-492E-B320-E030E0990F40}" type="pres">
      <dgm:prSet presAssocID="{41522234-278D-4D50-9FF8-20D1AD20281E}" presName="horz2" presStyleCnt="0"/>
      <dgm:spPr/>
    </dgm:pt>
    <dgm:pt modelId="{5788598C-D649-48B9-863D-FC8DD3444038}" type="pres">
      <dgm:prSet presAssocID="{41522234-278D-4D50-9FF8-20D1AD20281E}" presName="horzSpace2" presStyleCnt="0"/>
      <dgm:spPr/>
    </dgm:pt>
    <dgm:pt modelId="{892624DF-598D-49DF-97E7-A1CCD78F668B}" type="pres">
      <dgm:prSet presAssocID="{41522234-278D-4D50-9FF8-20D1AD20281E}" presName="tx2" presStyleLbl="revTx" presStyleIdx="3" presStyleCnt="7"/>
      <dgm:spPr/>
    </dgm:pt>
    <dgm:pt modelId="{A32CBA08-B528-43A5-9C2C-7DD1E00E986C}" type="pres">
      <dgm:prSet presAssocID="{41522234-278D-4D50-9FF8-20D1AD20281E}" presName="vert2" presStyleCnt="0"/>
      <dgm:spPr/>
    </dgm:pt>
    <dgm:pt modelId="{7D799D5A-F101-417F-96B3-1F141360D0C8}" type="pres">
      <dgm:prSet presAssocID="{41522234-278D-4D50-9FF8-20D1AD20281E}" presName="thinLine2b" presStyleLbl="callout" presStyleIdx="2" presStyleCnt="6"/>
      <dgm:spPr/>
    </dgm:pt>
    <dgm:pt modelId="{BC6A0CEC-4617-4038-85D7-FE66709FD4B0}" type="pres">
      <dgm:prSet presAssocID="{41522234-278D-4D50-9FF8-20D1AD20281E}" presName="vertSpace2b" presStyleCnt="0"/>
      <dgm:spPr/>
    </dgm:pt>
    <dgm:pt modelId="{2C6DEBFA-95EB-4579-89C8-9090EE99AC13}" type="pres">
      <dgm:prSet presAssocID="{48EDD1E4-08B1-4AB9-8623-C67868057D77}" presName="horz2" presStyleCnt="0"/>
      <dgm:spPr/>
    </dgm:pt>
    <dgm:pt modelId="{3D1ACA69-4128-4DD6-9507-7A5517943084}" type="pres">
      <dgm:prSet presAssocID="{48EDD1E4-08B1-4AB9-8623-C67868057D77}" presName="horzSpace2" presStyleCnt="0"/>
      <dgm:spPr/>
    </dgm:pt>
    <dgm:pt modelId="{C7C263E2-D1EA-4D30-9065-964990322363}" type="pres">
      <dgm:prSet presAssocID="{48EDD1E4-08B1-4AB9-8623-C67868057D77}" presName="tx2" presStyleLbl="revTx" presStyleIdx="4" presStyleCnt="7"/>
      <dgm:spPr/>
    </dgm:pt>
    <dgm:pt modelId="{5C671014-D1B0-4C89-BDFD-55A0F4C7E268}" type="pres">
      <dgm:prSet presAssocID="{48EDD1E4-08B1-4AB9-8623-C67868057D77}" presName="vert2" presStyleCnt="0"/>
      <dgm:spPr/>
    </dgm:pt>
    <dgm:pt modelId="{3DABD481-9FBF-425A-BCC8-731510C3C037}" type="pres">
      <dgm:prSet presAssocID="{48EDD1E4-08B1-4AB9-8623-C67868057D77}" presName="thinLine2b" presStyleLbl="callout" presStyleIdx="3" presStyleCnt="6"/>
      <dgm:spPr/>
    </dgm:pt>
    <dgm:pt modelId="{B0CB22DA-1B9E-4C80-85A0-D40B9627B58D}" type="pres">
      <dgm:prSet presAssocID="{48EDD1E4-08B1-4AB9-8623-C67868057D77}" presName="vertSpace2b" presStyleCnt="0"/>
      <dgm:spPr/>
    </dgm:pt>
    <dgm:pt modelId="{6525BE7A-DBBB-4598-A979-27030A89BE55}" type="pres">
      <dgm:prSet presAssocID="{E6E32A0D-EFB2-4A55-B432-60F441EC35DD}" presName="horz2" presStyleCnt="0"/>
      <dgm:spPr/>
    </dgm:pt>
    <dgm:pt modelId="{9F9F679A-6C56-4C13-85A3-B78D707D7189}" type="pres">
      <dgm:prSet presAssocID="{E6E32A0D-EFB2-4A55-B432-60F441EC35DD}" presName="horzSpace2" presStyleCnt="0"/>
      <dgm:spPr/>
    </dgm:pt>
    <dgm:pt modelId="{720DD233-8CF5-4FB0-B791-7A57A76340EC}" type="pres">
      <dgm:prSet presAssocID="{E6E32A0D-EFB2-4A55-B432-60F441EC35DD}" presName="tx2" presStyleLbl="revTx" presStyleIdx="5" presStyleCnt="7"/>
      <dgm:spPr/>
    </dgm:pt>
    <dgm:pt modelId="{20B68E98-650F-452B-9A26-1BFFD63F0AE8}" type="pres">
      <dgm:prSet presAssocID="{E6E32A0D-EFB2-4A55-B432-60F441EC35DD}" presName="vert2" presStyleCnt="0"/>
      <dgm:spPr/>
    </dgm:pt>
    <dgm:pt modelId="{6FB732E5-730E-44AB-87F2-A627F8EF4E96}" type="pres">
      <dgm:prSet presAssocID="{E6E32A0D-EFB2-4A55-B432-60F441EC35DD}" presName="thinLine2b" presStyleLbl="callout" presStyleIdx="4" presStyleCnt="6"/>
      <dgm:spPr/>
    </dgm:pt>
    <dgm:pt modelId="{BCD4E975-A005-4D25-9419-CA15F3ECEFDD}" type="pres">
      <dgm:prSet presAssocID="{E6E32A0D-EFB2-4A55-B432-60F441EC35DD}" presName="vertSpace2b" presStyleCnt="0"/>
      <dgm:spPr/>
    </dgm:pt>
    <dgm:pt modelId="{4694C52F-0758-4492-8295-FB3D0CA134C9}" type="pres">
      <dgm:prSet presAssocID="{460DC707-14BC-48FB-8132-A6520D6CFFD1}" presName="horz2" presStyleCnt="0"/>
      <dgm:spPr/>
    </dgm:pt>
    <dgm:pt modelId="{F4435E9C-0E6E-4F3D-A644-780AAC2454A3}" type="pres">
      <dgm:prSet presAssocID="{460DC707-14BC-48FB-8132-A6520D6CFFD1}" presName="horzSpace2" presStyleCnt="0"/>
      <dgm:spPr/>
    </dgm:pt>
    <dgm:pt modelId="{8B1DCFC4-5473-4404-B0DE-5DFF5BDC802C}" type="pres">
      <dgm:prSet presAssocID="{460DC707-14BC-48FB-8132-A6520D6CFFD1}" presName="tx2" presStyleLbl="revTx" presStyleIdx="6" presStyleCnt="7"/>
      <dgm:spPr/>
    </dgm:pt>
    <dgm:pt modelId="{C1D6271F-2BC6-488A-9BDE-3A82A6F78EAB}" type="pres">
      <dgm:prSet presAssocID="{460DC707-14BC-48FB-8132-A6520D6CFFD1}" presName="vert2" presStyleCnt="0"/>
      <dgm:spPr/>
    </dgm:pt>
    <dgm:pt modelId="{B7C27722-8834-4B8B-92A3-9B62389A9170}" type="pres">
      <dgm:prSet presAssocID="{460DC707-14BC-48FB-8132-A6520D6CFFD1}" presName="thinLine2b" presStyleLbl="callout" presStyleIdx="5" presStyleCnt="6"/>
      <dgm:spPr/>
    </dgm:pt>
    <dgm:pt modelId="{D5204A6D-EE50-4F28-A6F4-C3CE06720E44}" type="pres">
      <dgm:prSet presAssocID="{460DC707-14BC-48FB-8132-A6520D6CFFD1}" presName="vertSpace2b" presStyleCnt="0"/>
      <dgm:spPr/>
    </dgm:pt>
  </dgm:ptLst>
  <dgm:cxnLst>
    <dgm:cxn modelId="{7034B00E-0D52-4DD3-8FD6-4E905DE0F762}" type="presOf" srcId="{E1C0F46D-DFFE-4365-B4DB-2320ACFAEB40}" destId="{74C29AAB-A07B-430E-814E-15AA48A69AD1}" srcOrd="0" destOrd="0" presId="urn:microsoft.com/office/officeart/2008/layout/LinedList"/>
    <dgm:cxn modelId="{8A1B5818-8103-46E3-95C5-64704EBAB1AE}" type="presOf" srcId="{460DC707-14BC-48FB-8132-A6520D6CFFD1}" destId="{8B1DCFC4-5473-4404-B0DE-5DFF5BDC802C}" srcOrd="0" destOrd="0" presId="urn:microsoft.com/office/officeart/2008/layout/LinedList"/>
    <dgm:cxn modelId="{ED95F522-EB50-4EF3-A58D-F761F0135BC0}" type="presOf" srcId="{E6E32A0D-EFB2-4A55-B432-60F441EC35DD}" destId="{720DD233-8CF5-4FB0-B791-7A57A76340EC}" srcOrd="0" destOrd="0" presId="urn:microsoft.com/office/officeart/2008/layout/LinedList"/>
    <dgm:cxn modelId="{9B554C35-2C4A-49CA-BC3A-2F74CCE77D80}" type="presOf" srcId="{C17139B0-EAFF-471D-B2BE-62FFAA56E400}" destId="{B30AB986-1D90-4754-B4FA-2B735D7982E6}" srcOrd="0" destOrd="0" presId="urn:microsoft.com/office/officeart/2008/layout/LinedList"/>
    <dgm:cxn modelId="{1799843A-0AC1-4F65-8BEB-C64D34EA6485}" srcId="{C17139B0-EAFF-471D-B2BE-62FFAA56E400}" destId="{E1C0F46D-DFFE-4365-B4DB-2320ACFAEB40}" srcOrd="0" destOrd="0" parTransId="{B9498AFC-E8D9-4802-A918-A940B7B2B3CA}" sibTransId="{03593CD3-2AEF-4D88-A9C4-E9A4FABD883E}"/>
    <dgm:cxn modelId="{26681C61-7E93-453F-9696-FA0404AF82C1}" type="presOf" srcId="{0F3F8916-5B42-430D-A4CC-61D0D89B0701}" destId="{990115F0-A25F-4EDF-87FA-91914F603EED}" srcOrd="0" destOrd="0" presId="urn:microsoft.com/office/officeart/2008/layout/LinedList"/>
    <dgm:cxn modelId="{F77CD268-E383-4E2F-B7C3-415708E34AAB}" srcId="{E1C0F46D-DFFE-4365-B4DB-2320ACFAEB40}" destId="{48EDD1E4-08B1-4AB9-8623-C67868057D77}" srcOrd="3" destOrd="0" parTransId="{A1646931-86E3-4997-BCCA-08569B059869}" sibTransId="{54AC5A07-D3A8-47DD-A705-6AB047F487CE}"/>
    <dgm:cxn modelId="{ED978F78-FA73-4C4E-9811-DCC23B85B3CD}" srcId="{E1C0F46D-DFFE-4365-B4DB-2320ACFAEB40}" destId="{41522234-278D-4D50-9FF8-20D1AD20281E}" srcOrd="2" destOrd="0" parTransId="{257F8906-53A8-40E7-BEB1-F058EBF4307E}" sibTransId="{D3055905-7290-46ED-8460-58C46263601A}"/>
    <dgm:cxn modelId="{1295077B-EAF9-4C5F-9529-188FCBF1C55A}" srcId="{E1C0F46D-DFFE-4365-B4DB-2320ACFAEB40}" destId="{460DC707-14BC-48FB-8132-A6520D6CFFD1}" srcOrd="5" destOrd="0" parTransId="{C2022461-3C47-46D3-B398-08055AB0608D}" sibTransId="{51560F20-C54C-4364-BC37-FA88188E94FA}"/>
    <dgm:cxn modelId="{694B428C-094F-4F53-A356-EE445EFCA52A}" type="presOf" srcId="{48EDD1E4-08B1-4AB9-8623-C67868057D77}" destId="{C7C263E2-D1EA-4D30-9065-964990322363}" srcOrd="0" destOrd="0" presId="urn:microsoft.com/office/officeart/2008/layout/LinedList"/>
    <dgm:cxn modelId="{867E6B95-3712-4BDF-BCF9-22896CFC5D3E}" type="presOf" srcId="{9BF45BC7-A2B0-49C4-B65B-110C031699D4}" destId="{0BA41942-931C-4365-B029-633845481D3D}" srcOrd="0" destOrd="0" presId="urn:microsoft.com/office/officeart/2008/layout/LinedList"/>
    <dgm:cxn modelId="{0FDF04B5-B709-40F9-8E03-A3942F73597E}" type="presOf" srcId="{41522234-278D-4D50-9FF8-20D1AD20281E}" destId="{892624DF-598D-49DF-97E7-A1CCD78F668B}" srcOrd="0" destOrd="0" presId="urn:microsoft.com/office/officeart/2008/layout/LinedList"/>
    <dgm:cxn modelId="{869FF4C1-AFA9-4792-8F92-B9D7A2185A79}" srcId="{E1C0F46D-DFFE-4365-B4DB-2320ACFAEB40}" destId="{E6E32A0D-EFB2-4A55-B432-60F441EC35DD}" srcOrd="4" destOrd="0" parTransId="{77E8B7CD-9D13-4FE9-B868-C9C6E78CE1DD}" sibTransId="{A558D97B-4F20-404A-A5E6-43C28F340F63}"/>
    <dgm:cxn modelId="{930A57CF-30E5-4687-BB7D-D8009915FD57}" srcId="{E1C0F46D-DFFE-4365-B4DB-2320ACFAEB40}" destId="{9BF45BC7-A2B0-49C4-B65B-110C031699D4}" srcOrd="0" destOrd="0" parTransId="{4843D871-2B9C-4B1B-9756-22DF5BC6D140}" sibTransId="{08CA2BB3-E8AE-49F2-84E3-439840F0598E}"/>
    <dgm:cxn modelId="{585681FB-5CAA-4701-A93C-44C1B1EC40B5}" srcId="{E1C0F46D-DFFE-4365-B4DB-2320ACFAEB40}" destId="{0F3F8916-5B42-430D-A4CC-61D0D89B0701}" srcOrd="1" destOrd="0" parTransId="{A5EC94ED-430C-4667-842F-6E3870DAE1FA}" sibTransId="{F667BECA-73AD-4C4E-A8DA-5ECAC3F0B3C2}"/>
    <dgm:cxn modelId="{0C1A619D-034C-4244-A100-D8AE1143E884}" type="presParOf" srcId="{B30AB986-1D90-4754-B4FA-2B735D7982E6}" destId="{CA4A1A25-4F3B-42FB-A13E-22DE12C8AC45}" srcOrd="0" destOrd="0" presId="urn:microsoft.com/office/officeart/2008/layout/LinedList"/>
    <dgm:cxn modelId="{510EC012-FC48-4573-B72E-1434A2F995B8}" type="presParOf" srcId="{B30AB986-1D90-4754-B4FA-2B735D7982E6}" destId="{5E1DBFFD-2407-4F5F-A742-10EDF56B11F3}" srcOrd="1" destOrd="0" presId="urn:microsoft.com/office/officeart/2008/layout/LinedList"/>
    <dgm:cxn modelId="{BB525BD4-0857-4FEF-BB51-7435882FDCA0}" type="presParOf" srcId="{5E1DBFFD-2407-4F5F-A742-10EDF56B11F3}" destId="{74C29AAB-A07B-430E-814E-15AA48A69AD1}" srcOrd="0" destOrd="0" presId="urn:microsoft.com/office/officeart/2008/layout/LinedList"/>
    <dgm:cxn modelId="{8EAE03EF-D5F6-4B6C-9AF7-E30B139E4D0E}" type="presParOf" srcId="{5E1DBFFD-2407-4F5F-A742-10EDF56B11F3}" destId="{D3A63D69-DE5F-467D-A97B-E59D696BB725}" srcOrd="1" destOrd="0" presId="urn:microsoft.com/office/officeart/2008/layout/LinedList"/>
    <dgm:cxn modelId="{BEF16CBA-4669-4727-98E9-57F578DA6FB6}" type="presParOf" srcId="{D3A63D69-DE5F-467D-A97B-E59D696BB725}" destId="{A530D608-2988-457F-8B2A-95E084D44FEB}" srcOrd="0" destOrd="0" presId="urn:microsoft.com/office/officeart/2008/layout/LinedList"/>
    <dgm:cxn modelId="{BD1BDFE8-5538-4484-8583-52F5DEC95027}" type="presParOf" srcId="{D3A63D69-DE5F-467D-A97B-E59D696BB725}" destId="{5C0AD5DC-EB4F-44F8-9CEA-3E151FA627DB}" srcOrd="1" destOrd="0" presId="urn:microsoft.com/office/officeart/2008/layout/LinedList"/>
    <dgm:cxn modelId="{BB76FFCD-9FB5-4600-B30D-322F2CDA901D}" type="presParOf" srcId="{5C0AD5DC-EB4F-44F8-9CEA-3E151FA627DB}" destId="{D39DB1BD-4D87-4C14-B568-1BA3A648E8ED}" srcOrd="0" destOrd="0" presId="urn:microsoft.com/office/officeart/2008/layout/LinedList"/>
    <dgm:cxn modelId="{01397353-DBCB-43F4-B919-EBB966A6F784}" type="presParOf" srcId="{5C0AD5DC-EB4F-44F8-9CEA-3E151FA627DB}" destId="{0BA41942-931C-4365-B029-633845481D3D}" srcOrd="1" destOrd="0" presId="urn:microsoft.com/office/officeart/2008/layout/LinedList"/>
    <dgm:cxn modelId="{DA851E16-0798-4043-97FF-CD8E33586A0C}" type="presParOf" srcId="{5C0AD5DC-EB4F-44F8-9CEA-3E151FA627DB}" destId="{1FA4ED30-650E-4F79-8231-52769C7EEC23}" srcOrd="2" destOrd="0" presId="urn:microsoft.com/office/officeart/2008/layout/LinedList"/>
    <dgm:cxn modelId="{6E0A051C-EE19-40AC-9BF0-8661E891A2EF}" type="presParOf" srcId="{D3A63D69-DE5F-467D-A97B-E59D696BB725}" destId="{868D8A03-E459-446E-8990-6F0C4DF29114}" srcOrd="2" destOrd="0" presId="urn:microsoft.com/office/officeart/2008/layout/LinedList"/>
    <dgm:cxn modelId="{AA2FAE40-51E5-43B0-8F12-1D74C623513F}" type="presParOf" srcId="{D3A63D69-DE5F-467D-A97B-E59D696BB725}" destId="{D45E8D54-13A9-47B9-B083-95F254B7B195}" srcOrd="3" destOrd="0" presId="urn:microsoft.com/office/officeart/2008/layout/LinedList"/>
    <dgm:cxn modelId="{D0499D42-86A3-44ED-9207-4AD46D672158}" type="presParOf" srcId="{D3A63D69-DE5F-467D-A97B-E59D696BB725}" destId="{B24871A9-00E1-4430-95FA-4059BABBA264}" srcOrd="4" destOrd="0" presId="urn:microsoft.com/office/officeart/2008/layout/LinedList"/>
    <dgm:cxn modelId="{ADA93B3C-9874-4B8C-A1AA-6E542995C18D}" type="presParOf" srcId="{B24871A9-00E1-4430-95FA-4059BABBA264}" destId="{67C42B12-A5B0-481E-850E-2DC4E59E769D}" srcOrd="0" destOrd="0" presId="urn:microsoft.com/office/officeart/2008/layout/LinedList"/>
    <dgm:cxn modelId="{57D7E29C-9AAD-4ED1-BD74-910DB9FC09F6}" type="presParOf" srcId="{B24871A9-00E1-4430-95FA-4059BABBA264}" destId="{990115F0-A25F-4EDF-87FA-91914F603EED}" srcOrd="1" destOrd="0" presId="urn:microsoft.com/office/officeart/2008/layout/LinedList"/>
    <dgm:cxn modelId="{2275D17D-5E2F-435C-BDDA-EED743CD3ABE}" type="presParOf" srcId="{B24871A9-00E1-4430-95FA-4059BABBA264}" destId="{7941F3CC-9559-4F42-A0F7-B67A7B4FEAD3}" srcOrd="2" destOrd="0" presId="urn:microsoft.com/office/officeart/2008/layout/LinedList"/>
    <dgm:cxn modelId="{63CE6612-A0C9-4C2E-865B-F781600BC771}" type="presParOf" srcId="{D3A63D69-DE5F-467D-A97B-E59D696BB725}" destId="{8B98E3CE-57C7-4387-9974-F33C0F653AD4}" srcOrd="5" destOrd="0" presId="urn:microsoft.com/office/officeart/2008/layout/LinedList"/>
    <dgm:cxn modelId="{88BB161C-57CE-419A-8DAC-8988EBEF9E8E}" type="presParOf" srcId="{D3A63D69-DE5F-467D-A97B-E59D696BB725}" destId="{5BE6AD44-1158-4C7F-972E-CDB81A356981}" srcOrd="6" destOrd="0" presId="urn:microsoft.com/office/officeart/2008/layout/LinedList"/>
    <dgm:cxn modelId="{F60FDD48-CE63-456D-A11B-F2ED1A56AB44}" type="presParOf" srcId="{D3A63D69-DE5F-467D-A97B-E59D696BB725}" destId="{CD67EC44-F8EF-492E-B320-E030E0990F40}" srcOrd="7" destOrd="0" presId="urn:microsoft.com/office/officeart/2008/layout/LinedList"/>
    <dgm:cxn modelId="{82F8CC1F-56F5-447D-B626-AFF13B593876}" type="presParOf" srcId="{CD67EC44-F8EF-492E-B320-E030E0990F40}" destId="{5788598C-D649-48B9-863D-FC8DD3444038}" srcOrd="0" destOrd="0" presId="urn:microsoft.com/office/officeart/2008/layout/LinedList"/>
    <dgm:cxn modelId="{717909AC-1386-4C3F-AC1A-2D433FAA8309}" type="presParOf" srcId="{CD67EC44-F8EF-492E-B320-E030E0990F40}" destId="{892624DF-598D-49DF-97E7-A1CCD78F668B}" srcOrd="1" destOrd="0" presId="urn:microsoft.com/office/officeart/2008/layout/LinedList"/>
    <dgm:cxn modelId="{B6750E13-EAF8-46F9-AEBF-9EB6457C7750}" type="presParOf" srcId="{CD67EC44-F8EF-492E-B320-E030E0990F40}" destId="{A32CBA08-B528-43A5-9C2C-7DD1E00E986C}" srcOrd="2" destOrd="0" presId="urn:microsoft.com/office/officeart/2008/layout/LinedList"/>
    <dgm:cxn modelId="{F31CF1B7-9211-4292-9C96-56CB01A075B9}" type="presParOf" srcId="{D3A63D69-DE5F-467D-A97B-E59D696BB725}" destId="{7D799D5A-F101-417F-96B3-1F141360D0C8}" srcOrd="8" destOrd="0" presId="urn:microsoft.com/office/officeart/2008/layout/LinedList"/>
    <dgm:cxn modelId="{605E746C-B4D4-4DFB-ABB4-059FB0E96D06}" type="presParOf" srcId="{D3A63D69-DE5F-467D-A97B-E59D696BB725}" destId="{BC6A0CEC-4617-4038-85D7-FE66709FD4B0}" srcOrd="9" destOrd="0" presId="urn:microsoft.com/office/officeart/2008/layout/LinedList"/>
    <dgm:cxn modelId="{4F9E2A90-6107-46E3-8162-1536C7A5396C}" type="presParOf" srcId="{D3A63D69-DE5F-467D-A97B-E59D696BB725}" destId="{2C6DEBFA-95EB-4579-89C8-9090EE99AC13}" srcOrd="10" destOrd="0" presId="urn:microsoft.com/office/officeart/2008/layout/LinedList"/>
    <dgm:cxn modelId="{774B3EC4-1898-4A66-A049-7FB7A26412D5}" type="presParOf" srcId="{2C6DEBFA-95EB-4579-89C8-9090EE99AC13}" destId="{3D1ACA69-4128-4DD6-9507-7A5517943084}" srcOrd="0" destOrd="0" presId="urn:microsoft.com/office/officeart/2008/layout/LinedList"/>
    <dgm:cxn modelId="{DDB29B48-0314-4D19-A766-94E0845DA302}" type="presParOf" srcId="{2C6DEBFA-95EB-4579-89C8-9090EE99AC13}" destId="{C7C263E2-D1EA-4D30-9065-964990322363}" srcOrd="1" destOrd="0" presId="urn:microsoft.com/office/officeart/2008/layout/LinedList"/>
    <dgm:cxn modelId="{74828ACE-9CB9-4775-92EA-DD3A6C80EA8C}" type="presParOf" srcId="{2C6DEBFA-95EB-4579-89C8-9090EE99AC13}" destId="{5C671014-D1B0-4C89-BDFD-55A0F4C7E268}" srcOrd="2" destOrd="0" presId="urn:microsoft.com/office/officeart/2008/layout/LinedList"/>
    <dgm:cxn modelId="{BFB65301-BCFC-4BAA-800C-90C084742EE5}" type="presParOf" srcId="{D3A63D69-DE5F-467D-A97B-E59D696BB725}" destId="{3DABD481-9FBF-425A-BCC8-731510C3C037}" srcOrd="11" destOrd="0" presId="urn:microsoft.com/office/officeart/2008/layout/LinedList"/>
    <dgm:cxn modelId="{2AEB8B28-06C3-45DA-9E9B-4F08B533ACD9}" type="presParOf" srcId="{D3A63D69-DE5F-467D-A97B-E59D696BB725}" destId="{B0CB22DA-1B9E-4C80-85A0-D40B9627B58D}" srcOrd="12" destOrd="0" presId="urn:microsoft.com/office/officeart/2008/layout/LinedList"/>
    <dgm:cxn modelId="{B1EC66C5-3140-4320-92E0-76F50346067E}" type="presParOf" srcId="{D3A63D69-DE5F-467D-A97B-E59D696BB725}" destId="{6525BE7A-DBBB-4598-A979-27030A89BE55}" srcOrd="13" destOrd="0" presId="urn:microsoft.com/office/officeart/2008/layout/LinedList"/>
    <dgm:cxn modelId="{5962FEF6-7C71-4CC7-BFC8-0A9B3EED27D7}" type="presParOf" srcId="{6525BE7A-DBBB-4598-A979-27030A89BE55}" destId="{9F9F679A-6C56-4C13-85A3-B78D707D7189}" srcOrd="0" destOrd="0" presId="urn:microsoft.com/office/officeart/2008/layout/LinedList"/>
    <dgm:cxn modelId="{139BA537-FBE5-4F34-8848-2C82A8CA6EDF}" type="presParOf" srcId="{6525BE7A-DBBB-4598-A979-27030A89BE55}" destId="{720DD233-8CF5-4FB0-B791-7A57A76340EC}" srcOrd="1" destOrd="0" presId="urn:microsoft.com/office/officeart/2008/layout/LinedList"/>
    <dgm:cxn modelId="{3B03A28F-3B12-4C2A-B60F-B4B4161F9FEE}" type="presParOf" srcId="{6525BE7A-DBBB-4598-A979-27030A89BE55}" destId="{20B68E98-650F-452B-9A26-1BFFD63F0AE8}" srcOrd="2" destOrd="0" presId="urn:microsoft.com/office/officeart/2008/layout/LinedList"/>
    <dgm:cxn modelId="{3547082D-655E-4F8F-9F57-E7B7EC20F895}" type="presParOf" srcId="{D3A63D69-DE5F-467D-A97B-E59D696BB725}" destId="{6FB732E5-730E-44AB-87F2-A627F8EF4E96}" srcOrd="14" destOrd="0" presId="urn:microsoft.com/office/officeart/2008/layout/LinedList"/>
    <dgm:cxn modelId="{7358EDEF-9520-4E62-AACC-B4F60D25CD54}" type="presParOf" srcId="{D3A63D69-DE5F-467D-A97B-E59D696BB725}" destId="{BCD4E975-A005-4D25-9419-CA15F3ECEFDD}" srcOrd="15" destOrd="0" presId="urn:microsoft.com/office/officeart/2008/layout/LinedList"/>
    <dgm:cxn modelId="{0D8A4CE7-F64B-4F44-B1D5-9C3DF3689398}" type="presParOf" srcId="{D3A63D69-DE5F-467D-A97B-E59D696BB725}" destId="{4694C52F-0758-4492-8295-FB3D0CA134C9}" srcOrd="16" destOrd="0" presId="urn:microsoft.com/office/officeart/2008/layout/LinedList"/>
    <dgm:cxn modelId="{55AC7EC7-F59B-410F-8EC0-93A2A6DA0B2F}" type="presParOf" srcId="{4694C52F-0758-4492-8295-FB3D0CA134C9}" destId="{F4435E9C-0E6E-4F3D-A644-780AAC2454A3}" srcOrd="0" destOrd="0" presId="urn:microsoft.com/office/officeart/2008/layout/LinedList"/>
    <dgm:cxn modelId="{01CC0BAE-55BC-44CA-A529-93024DCA9D72}" type="presParOf" srcId="{4694C52F-0758-4492-8295-FB3D0CA134C9}" destId="{8B1DCFC4-5473-4404-B0DE-5DFF5BDC802C}" srcOrd="1" destOrd="0" presId="urn:microsoft.com/office/officeart/2008/layout/LinedList"/>
    <dgm:cxn modelId="{3EDD14D7-E959-467B-9F2F-39674C465C3D}" type="presParOf" srcId="{4694C52F-0758-4492-8295-FB3D0CA134C9}" destId="{C1D6271F-2BC6-488A-9BDE-3A82A6F78EAB}" srcOrd="2" destOrd="0" presId="urn:microsoft.com/office/officeart/2008/layout/LinedList"/>
    <dgm:cxn modelId="{8220EFC8-FC74-45CF-87C7-8B3942B93BEB}" type="presParOf" srcId="{D3A63D69-DE5F-467D-A97B-E59D696BB725}" destId="{B7C27722-8834-4B8B-92A3-9B62389A9170}" srcOrd="17" destOrd="0" presId="urn:microsoft.com/office/officeart/2008/layout/LinedList"/>
    <dgm:cxn modelId="{411B7CC3-9137-4F20-825E-36C0C98563BC}" type="presParOf" srcId="{D3A63D69-DE5F-467D-A97B-E59D696BB725}" destId="{D5204A6D-EE50-4F28-A6F4-C3CE06720E44}" srcOrd="18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BA3553E-BF09-413B-97AA-CF95B8F5AFA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B190C64D-AB6E-4BDD-8649-8887289718B5}">
      <dgm:prSet phldrT="[Текст]"/>
      <dgm:spPr/>
      <dgm:t>
        <a:bodyPr/>
        <a:lstStyle/>
        <a:p>
          <a:r>
            <a:rPr lang="ru-RU" dirty="0"/>
            <a:t>Клиент</a:t>
          </a:r>
        </a:p>
      </dgm:t>
    </dgm:pt>
    <dgm:pt modelId="{248ED94A-08E4-4621-BA21-600D05F1B135}" type="parTrans" cxnId="{08F172B0-9E2A-4BE2-80CD-EB2B453F7E3C}">
      <dgm:prSet/>
      <dgm:spPr/>
      <dgm:t>
        <a:bodyPr/>
        <a:lstStyle/>
        <a:p>
          <a:endParaRPr lang="ru-RU"/>
        </a:p>
      </dgm:t>
    </dgm:pt>
    <dgm:pt modelId="{AE06F09D-5873-45A3-83B3-1C2E60E96F16}" type="sibTrans" cxnId="{08F172B0-9E2A-4BE2-80CD-EB2B453F7E3C}">
      <dgm:prSet/>
      <dgm:spPr/>
      <dgm:t>
        <a:bodyPr/>
        <a:lstStyle/>
        <a:p>
          <a:endParaRPr lang="ru-RU"/>
        </a:p>
      </dgm:t>
    </dgm:pt>
    <dgm:pt modelId="{B5CBD002-31A4-47AA-B907-2CDA51DA9FCC}">
      <dgm:prSet phldrT="[Текст]"/>
      <dgm:spPr/>
      <dgm:t>
        <a:bodyPr/>
        <a:lstStyle/>
        <a:p>
          <a:r>
            <a:rPr lang="ru-RU" dirty="0"/>
            <a:t>Название РК</a:t>
          </a:r>
        </a:p>
      </dgm:t>
    </dgm:pt>
    <dgm:pt modelId="{DC5C46BE-EB7C-43B2-9839-B0C9A56E8A21}" type="parTrans" cxnId="{57CC919C-2A38-4FBB-9E64-3AB4BA899A21}">
      <dgm:prSet/>
      <dgm:spPr/>
      <dgm:t>
        <a:bodyPr/>
        <a:lstStyle/>
        <a:p>
          <a:endParaRPr lang="ru-RU"/>
        </a:p>
      </dgm:t>
    </dgm:pt>
    <dgm:pt modelId="{FD3DF8ED-1D5D-49C0-9A62-69F7E718C1B1}" type="sibTrans" cxnId="{57CC919C-2A38-4FBB-9E64-3AB4BA899A21}">
      <dgm:prSet/>
      <dgm:spPr/>
      <dgm:t>
        <a:bodyPr/>
        <a:lstStyle/>
        <a:p>
          <a:endParaRPr lang="ru-RU"/>
        </a:p>
      </dgm:t>
    </dgm:pt>
    <dgm:pt modelId="{FB1DFF3C-ABCB-49AF-9952-69BA4B0CBDA9}">
      <dgm:prSet phldrT="[Текст]"/>
      <dgm:spPr/>
      <dgm:t>
        <a:bodyPr/>
        <a:lstStyle/>
        <a:p>
          <a:r>
            <a:rPr lang="ru-RU" dirty="0"/>
            <a:t>Бюджет</a:t>
          </a:r>
        </a:p>
      </dgm:t>
    </dgm:pt>
    <dgm:pt modelId="{BD729A1F-9ECF-4FE5-852D-973AC86F97CF}" type="parTrans" cxnId="{781D05C9-9469-4E3D-B9DA-6AA11115E664}">
      <dgm:prSet/>
      <dgm:spPr/>
      <dgm:t>
        <a:bodyPr/>
        <a:lstStyle/>
        <a:p>
          <a:endParaRPr lang="ru-RU"/>
        </a:p>
      </dgm:t>
    </dgm:pt>
    <dgm:pt modelId="{AAFD842E-3417-4618-935A-133F43C9B522}" type="sibTrans" cxnId="{781D05C9-9469-4E3D-B9DA-6AA11115E664}">
      <dgm:prSet/>
      <dgm:spPr/>
      <dgm:t>
        <a:bodyPr/>
        <a:lstStyle/>
        <a:p>
          <a:endParaRPr lang="ru-RU"/>
        </a:p>
      </dgm:t>
    </dgm:pt>
    <dgm:pt modelId="{663F3CA6-F3E0-4C90-9ED0-F589D743CE2D}">
      <dgm:prSet phldrT="[Текст]"/>
      <dgm:spPr/>
      <dgm:t>
        <a:bodyPr/>
        <a:lstStyle/>
        <a:p>
          <a:r>
            <a:rPr lang="ru-RU" dirty="0"/>
            <a:t>Период</a:t>
          </a:r>
        </a:p>
      </dgm:t>
    </dgm:pt>
    <dgm:pt modelId="{312E612B-444B-4C3B-8F18-BAC99D95FD34}" type="parTrans" cxnId="{59DAD8AB-68A0-4688-9964-C5417869DA3A}">
      <dgm:prSet/>
      <dgm:spPr/>
      <dgm:t>
        <a:bodyPr/>
        <a:lstStyle/>
        <a:p>
          <a:endParaRPr lang="ru-RU"/>
        </a:p>
      </dgm:t>
    </dgm:pt>
    <dgm:pt modelId="{565196A4-E5E3-4323-A134-2403B01C9B15}" type="sibTrans" cxnId="{59DAD8AB-68A0-4688-9964-C5417869DA3A}">
      <dgm:prSet/>
      <dgm:spPr/>
      <dgm:t>
        <a:bodyPr/>
        <a:lstStyle/>
        <a:p>
          <a:endParaRPr lang="ru-RU"/>
        </a:p>
      </dgm:t>
    </dgm:pt>
    <dgm:pt modelId="{B64919F2-C450-4206-B468-772C311C1963}">
      <dgm:prSet phldrT="[Текст]"/>
      <dgm:spPr/>
      <dgm:t>
        <a:bodyPr/>
        <a:lstStyle/>
        <a:p>
          <a:r>
            <a:rPr lang="ru-RU" dirty="0"/>
            <a:t>Карточка проекта</a:t>
          </a:r>
        </a:p>
      </dgm:t>
    </dgm:pt>
    <dgm:pt modelId="{8B4D2AEE-6898-4008-B726-B9A721E47654}" type="parTrans" cxnId="{64C68337-E654-488A-B1A3-2B539683DC20}">
      <dgm:prSet/>
      <dgm:spPr/>
      <dgm:t>
        <a:bodyPr/>
        <a:lstStyle/>
        <a:p>
          <a:endParaRPr lang="ru-RU"/>
        </a:p>
      </dgm:t>
    </dgm:pt>
    <dgm:pt modelId="{CCE47AAE-EE18-422C-9954-ABF97FB87FC3}" type="sibTrans" cxnId="{64C68337-E654-488A-B1A3-2B539683DC20}">
      <dgm:prSet/>
      <dgm:spPr/>
      <dgm:t>
        <a:bodyPr/>
        <a:lstStyle/>
        <a:p>
          <a:endParaRPr lang="ru-RU"/>
        </a:p>
      </dgm:t>
    </dgm:pt>
    <dgm:pt modelId="{11ED52E9-39C7-4F06-BA78-9C83C8E20126}" type="pres">
      <dgm:prSet presAssocID="{EBA3553E-BF09-413B-97AA-CF95B8F5AFA3}" presName="Name0" presStyleCnt="0">
        <dgm:presLayoutVars>
          <dgm:dir/>
          <dgm:resizeHandles val="exact"/>
        </dgm:presLayoutVars>
      </dgm:prSet>
      <dgm:spPr/>
    </dgm:pt>
    <dgm:pt modelId="{0D90DF8D-25D8-439A-A8E7-46A319272EB3}" type="pres">
      <dgm:prSet presAssocID="{B190C64D-AB6E-4BDD-8649-8887289718B5}" presName="node" presStyleLbl="node1" presStyleIdx="0" presStyleCnt="5">
        <dgm:presLayoutVars>
          <dgm:bulletEnabled val="1"/>
        </dgm:presLayoutVars>
      </dgm:prSet>
      <dgm:spPr/>
    </dgm:pt>
    <dgm:pt modelId="{170BBF24-665E-4305-B1B3-73CB72AF1285}" type="pres">
      <dgm:prSet presAssocID="{AE06F09D-5873-45A3-83B3-1C2E60E96F16}" presName="sibTrans" presStyleLbl="sibTrans2D1" presStyleIdx="0" presStyleCnt="4"/>
      <dgm:spPr/>
    </dgm:pt>
    <dgm:pt modelId="{30BF1F89-8CCA-40AE-AC42-5A23F3208CB0}" type="pres">
      <dgm:prSet presAssocID="{AE06F09D-5873-45A3-83B3-1C2E60E96F16}" presName="connectorText" presStyleLbl="sibTrans2D1" presStyleIdx="0" presStyleCnt="4"/>
      <dgm:spPr/>
    </dgm:pt>
    <dgm:pt modelId="{80F42B50-0ABA-4044-8856-968A620AF24C}" type="pres">
      <dgm:prSet presAssocID="{B5CBD002-31A4-47AA-B907-2CDA51DA9FCC}" presName="node" presStyleLbl="node1" presStyleIdx="1" presStyleCnt="5">
        <dgm:presLayoutVars>
          <dgm:bulletEnabled val="1"/>
        </dgm:presLayoutVars>
      </dgm:prSet>
      <dgm:spPr/>
    </dgm:pt>
    <dgm:pt modelId="{6E7541FA-B3BE-4F1B-B04A-46EF764F0B0F}" type="pres">
      <dgm:prSet presAssocID="{FD3DF8ED-1D5D-49C0-9A62-69F7E718C1B1}" presName="sibTrans" presStyleLbl="sibTrans2D1" presStyleIdx="1" presStyleCnt="4"/>
      <dgm:spPr/>
    </dgm:pt>
    <dgm:pt modelId="{B7487A31-1A89-415F-BFFF-38DB52C7A2D9}" type="pres">
      <dgm:prSet presAssocID="{FD3DF8ED-1D5D-49C0-9A62-69F7E718C1B1}" presName="connectorText" presStyleLbl="sibTrans2D1" presStyleIdx="1" presStyleCnt="4"/>
      <dgm:spPr/>
    </dgm:pt>
    <dgm:pt modelId="{99296784-CB10-48BC-A26A-45A698EA109A}" type="pres">
      <dgm:prSet presAssocID="{FB1DFF3C-ABCB-49AF-9952-69BA4B0CBDA9}" presName="node" presStyleLbl="node1" presStyleIdx="2" presStyleCnt="5">
        <dgm:presLayoutVars>
          <dgm:bulletEnabled val="1"/>
        </dgm:presLayoutVars>
      </dgm:prSet>
      <dgm:spPr/>
    </dgm:pt>
    <dgm:pt modelId="{04A0B140-E887-46AE-918B-D2EC3B58B8A6}" type="pres">
      <dgm:prSet presAssocID="{AAFD842E-3417-4618-935A-133F43C9B522}" presName="sibTrans" presStyleLbl="sibTrans2D1" presStyleIdx="2" presStyleCnt="4"/>
      <dgm:spPr/>
    </dgm:pt>
    <dgm:pt modelId="{2230B7F5-02A2-4155-9658-9A9E48D1F409}" type="pres">
      <dgm:prSet presAssocID="{AAFD842E-3417-4618-935A-133F43C9B522}" presName="connectorText" presStyleLbl="sibTrans2D1" presStyleIdx="2" presStyleCnt="4"/>
      <dgm:spPr/>
    </dgm:pt>
    <dgm:pt modelId="{614649A1-B11A-48DD-BE7F-186079811D7B}" type="pres">
      <dgm:prSet presAssocID="{663F3CA6-F3E0-4C90-9ED0-F589D743CE2D}" presName="node" presStyleLbl="node1" presStyleIdx="3" presStyleCnt="5">
        <dgm:presLayoutVars>
          <dgm:bulletEnabled val="1"/>
        </dgm:presLayoutVars>
      </dgm:prSet>
      <dgm:spPr/>
    </dgm:pt>
    <dgm:pt modelId="{96B8640D-4984-4959-95DB-D12A8B6FBF4F}" type="pres">
      <dgm:prSet presAssocID="{565196A4-E5E3-4323-A134-2403B01C9B15}" presName="sibTrans" presStyleLbl="sibTrans2D1" presStyleIdx="3" presStyleCnt="4"/>
      <dgm:spPr/>
    </dgm:pt>
    <dgm:pt modelId="{BD4363A0-5012-4A8C-BDFF-C19DDD5B7C7A}" type="pres">
      <dgm:prSet presAssocID="{565196A4-E5E3-4323-A134-2403B01C9B15}" presName="connectorText" presStyleLbl="sibTrans2D1" presStyleIdx="3" presStyleCnt="4"/>
      <dgm:spPr/>
    </dgm:pt>
    <dgm:pt modelId="{A3B31C88-AD9B-4920-9CA1-751711F84331}" type="pres">
      <dgm:prSet presAssocID="{B64919F2-C450-4206-B468-772C311C1963}" presName="node" presStyleLbl="node1" presStyleIdx="4" presStyleCnt="5" custScaleX="137532">
        <dgm:presLayoutVars>
          <dgm:bulletEnabled val="1"/>
        </dgm:presLayoutVars>
      </dgm:prSet>
      <dgm:spPr/>
    </dgm:pt>
  </dgm:ptLst>
  <dgm:cxnLst>
    <dgm:cxn modelId="{4CFD9D04-EADB-4A77-9D7B-6790BCC09623}" type="presOf" srcId="{B64919F2-C450-4206-B468-772C311C1963}" destId="{A3B31C88-AD9B-4920-9CA1-751711F84331}" srcOrd="0" destOrd="0" presId="urn:microsoft.com/office/officeart/2005/8/layout/process1"/>
    <dgm:cxn modelId="{7C2F6B2B-F312-42D4-A786-A98B1BD244CD}" type="presOf" srcId="{565196A4-E5E3-4323-A134-2403B01C9B15}" destId="{96B8640D-4984-4959-95DB-D12A8B6FBF4F}" srcOrd="0" destOrd="0" presId="urn:microsoft.com/office/officeart/2005/8/layout/process1"/>
    <dgm:cxn modelId="{E5F7352D-B9D1-4B57-BE5D-BB60B17F9973}" type="presOf" srcId="{EBA3553E-BF09-413B-97AA-CF95B8F5AFA3}" destId="{11ED52E9-39C7-4F06-BA78-9C83C8E20126}" srcOrd="0" destOrd="0" presId="urn:microsoft.com/office/officeart/2005/8/layout/process1"/>
    <dgm:cxn modelId="{64C68337-E654-488A-B1A3-2B539683DC20}" srcId="{EBA3553E-BF09-413B-97AA-CF95B8F5AFA3}" destId="{B64919F2-C450-4206-B468-772C311C1963}" srcOrd="4" destOrd="0" parTransId="{8B4D2AEE-6898-4008-B726-B9A721E47654}" sibTransId="{CCE47AAE-EE18-422C-9954-ABF97FB87FC3}"/>
    <dgm:cxn modelId="{220D383A-344B-40AB-869C-0C52691918C1}" type="presOf" srcId="{AAFD842E-3417-4618-935A-133F43C9B522}" destId="{2230B7F5-02A2-4155-9658-9A9E48D1F409}" srcOrd="1" destOrd="0" presId="urn:microsoft.com/office/officeart/2005/8/layout/process1"/>
    <dgm:cxn modelId="{CA277241-27C4-4A79-82EE-E339E31F70F1}" type="presOf" srcId="{FD3DF8ED-1D5D-49C0-9A62-69F7E718C1B1}" destId="{6E7541FA-B3BE-4F1B-B04A-46EF764F0B0F}" srcOrd="0" destOrd="0" presId="urn:microsoft.com/office/officeart/2005/8/layout/process1"/>
    <dgm:cxn modelId="{A0B3284F-6273-4F63-9680-366B3D847322}" type="presOf" srcId="{663F3CA6-F3E0-4C90-9ED0-F589D743CE2D}" destId="{614649A1-B11A-48DD-BE7F-186079811D7B}" srcOrd="0" destOrd="0" presId="urn:microsoft.com/office/officeart/2005/8/layout/process1"/>
    <dgm:cxn modelId="{878CDA53-6F7D-48F2-A418-72B51D5315CF}" type="presOf" srcId="{AE06F09D-5873-45A3-83B3-1C2E60E96F16}" destId="{30BF1F89-8CCA-40AE-AC42-5A23F3208CB0}" srcOrd="1" destOrd="0" presId="urn:microsoft.com/office/officeart/2005/8/layout/process1"/>
    <dgm:cxn modelId="{3E1A9274-DEB4-4B66-929A-30091864AE64}" type="presOf" srcId="{B5CBD002-31A4-47AA-B907-2CDA51DA9FCC}" destId="{80F42B50-0ABA-4044-8856-968A620AF24C}" srcOrd="0" destOrd="0" presId="urn:microsoft.com/office/officeart/2005/8/layout/process1"/>
    <dgm:cxn modelId="{BA41E189-2F0C-4EBC-8A75-AD4C3BF16D84}" type="presOf" srcId="{AE06F09D-5873-45A3-83B3-1C2E60E96F16}" destId="{170BBF24-665E-4305-B1B3-73CB72AF1285}" srcOrd="0" destOrd="0" presId="urn:microsoft.com/office/officeart/2005/8/layout/process1"/>
    <dgm:cxn modelId="{627B319C-C2CD-4EFA-852E-8D80B7E9B5A7}" type="presOf" srcId="{FB1DFF3C-ABCB-49AF-9952-69BA4B0CBDA9}" destId="{99296784-CB10-48BC-A26A-45A698EA109A}" srcOrd="0" destOrd="0" presId="urn:microsoft.com/office/officeart/2005/8/layout/process1"/>
    <dgm:cxn modelId="{57CC919C-2A38-4FBB-9E64-3AB4BA899A21}" srcId="{EBA3553E-BF09-413B-97AA-CF95B8F5AFA3}" destId="{B5CBD002-31A4-47AA-B907-2CDA51DA9FCC}" srcOrd="1" destOrd="0" parTransId="{DC5C46BE-EB7C-43B2-9839-B0C9A56E8A21}" sibTransId="{FD3DF8ED-1D5D-49C0-9A62-69F7E718C1B1}"/>
    <dgm:cxn modelId="{59DAD8AB-68A0-4688-9964-C5417869DA3A}" srcId="{EBA3553E-BF09-413B-97AA-CF95B8F5AFA3}" destId="{663F3CA6-F3E0-4C90-9ED0-F589D743CE2D}" srcOrd="3" destOrd="0" parTransId="{312E612B-444B-4C3B-8F18-BAC99D95FD34}" sibTransId="{565196A4-E5E3-4323-A134-2403B01C9B15}"/>
    <dgm:cxn modelId="{08F172B0-9E2A-4BE2-80CD-EB2B453F7E3C}" srcId="{EBA3553E-BF09-413B-97AA-CF95B8F5AFA3}" destId="{B190C64D-AB6E-4BDD-8649-8887289718B5}" srcOrd="0" destOrd="0" parTransId="{248ED94A-08E4-4621-BA21-600D05F1B135}" sibTransId="{AE06F09D-5873-45A3-83B3-1C2E60E96F16}"/>
    <dgm:cxn modelId="{781D05C9-9469-4E3D-B9DA-6AA11115E664}" srcId="{EBA3553E-BF09-413B-97AA-CF95B8F5AFA3}" destId="{FB1DFF3C-ABCB-49AF-9952-69BA4B0CBDA9}" srcOrd="2" destOrd="0" parTransId="{BD729A1F-9ECF-4FE5-852D-973AC86F97CF}" sibTransId="{AAFD842E-3417-4618-935A-133F43C9B522}"/>
    <dgm:cxn modelId="{1954A6CE-B95C-4F5D-B7D9-DA780B95BA97}" type="presOf" srcId="{FD3DF8ED-1D5D-49C0-9A62-69F7E718C1B1}" destId="{B7487A31-1A89-415F-BFFF-38DB52C7A2D9}" srcOrd="1" destOrd="0" presId="urn:microsoft.com/office/officeart/2005/8/layout/process1"/>
    <dgm:cxn modelId="{92451BD0-740B-4BDD-9796-DF7615300976}" type="presOf" srcId="{B190C64D-AB6E-4BDD-8649-8887289718B5}" destId="{0D90DF8D-25D8-439A-A8E7-46A319272EB3}" srcOrd="0" destOrd="0" presId="urn:microsoft.com/office/officeart/2005/8/layout/process1"/>
    <dgm:cxn modelId="{F2F3FBF4-BF12-4B5B-8215-D73E1D909D40}" type="presOf" srcId="{565196A4-E5E3-4323-A134-2403B01C9B15}" destId="{BD4363A0-5012-4A8C-BDFF-C19DDD5B7C7A}" srcOrd="1" destOrd="0" presId="urn:microsoft.com/office/officeart/2005/8/layout/process1"/>
    <dgm:cxn modelId="{F72582F6-9C5D-4530-83A9-C8BC0CDD8259}" type="presOf" srcId="{AAFD842E-3417-4618-935A-133F43C9B522}" destId="{04A0B140-E887-46AE-918B-D2EC3B58B8A6}" srcOrd="0" destOrd="0" presId="urn:microsoft.com/office/officeart/2005/8/layout/process1"/>
    <dgm:cxn modelId="{25C32929-7541-4E05-8C95-4DC7D844C742}" type="presParOf" srcId="{11ED52E9-39C7-4F06-BA78-9C83C8E20126}" destId="{0D90DF8D-25D8-439A-A8E7-46A319272EB3}" srcOrd="0" destOrd="0" presId="urn:microsoft.com/office/officeart/2005/8/layout/process1"/>
    <dgm:cxn modelId="{EC9107EF-D12F-420F-9954-D1EF642897D3}" type="presParOf" srcId="{11ED52E9-39C7-4F06-BA78-9C83C8E20126}" destId="{170BBF24-665E-4305-B1B3-73CB72AF1285}" srcOrd="1" destOrd="0" presId="urn:microsoft.com/office/officeart/2005/8/layout/process1"/>
    <dgm:cxn modelId="{8A0AC5CF-6316-4CD2-9AE2-B2911FB25B3B}" type="presParOf" srcId="{170BBF24-665E-4305-B1B3-73CB72AF1285}" destId="{30BF1F89-8CCA-40AE-AC42-5A23F3208CB0}" srcOrd="0" destOrd="0" presId="urn:microsoft.com/office/officeart/2005/8/layout/process1"/>
    <dgm:cxn modelId="{1FE11CD0-0F1F-4B94-952D-9F19662C72FE}" type="presParOf" srcId="{11ED52E9-39C7-4F06-BA78-9C83C8E20126}" destId="{80F42B50-0ABA-4044-8856-968A620AF24C}" srcOrd="2" destOrd="0" presId="urn:microsoft.com/office/officeart/2005/8/layout/process1"/>
    <dgm:cxn modelId="{F9EC1B8C-BFD4-437F-B439-D48AA2166747}" type="presParOf" srcId="{11ED52E9-39C7-4F06-BA78-9C83C8E20126}" destId="{6E7541FA-B3BE-4F1B-B04A-46EF764F0B0F}" srcOrd="3" destOrd="0" presId="urn:microsoft.com/office/officeart/2005/8/layout/process1"/>
    <dgm:cxn modelId="{D8E08802-AA20-48F5-9D51-0ED1C915F296}" type="presParOf" srcId="{6E7541FA-B3BE-4F1B-B04A-46EF764F0B0F}" destId="{B7487A31-1A89-415F-BFFF-38DB52C7A2D9}" srcOrd="0" destOrd="0" presId="urn:microsoft.com/office/officeart/2005/8/layout/process1"/>
    <dgm:cxn modelId="{AA798C61-9C97-44EA-B4E2-CC9C533EE75C}" type="presParOf" srcId="{11ED52E9-39C7-4F06-BA78-9C83C8E20126}" destId="{99296784-CB10-48BC-A26A-45A698EA109A}" srcOrd="4" destOrd="0" presId="urn:microsoft.com/office/officeart/2005/8/layout/process1"/>
    <dgm:cxn modelId="{78ABDDC3-5C9F-4628-A37B-44C1E74AA066}" type="presParOf" srcId="{11ED52E9-39C7-4F06-BA78-9C83C8E20126}" destId="{04A0B140-E887-46AE-918B-D2EC3B58B8A6}" srcOrd="5" destOrd="0" presId="urn:microsoft.com/office/officeart/2005/8/layout/process1"/>
    <dgm:cxn modelId="{F80E55B1-6191-48FB-AFAF-0B36182DB50B}" type="presParOf" srcId="{04A0B140-E887-46AE-918B-D2EC3B58B8A6}" destId="{2230B7F5-02A2-4155-9658-9A9E48D1F409}" srcOrd="0" destOrd="0" presId="urn:microsoft.com/office/officeart/2005/8/layout/process1"/>
    <dgm:cxn modelId="{758114D6-7FA1-4F7F-9E7D-E4E587E5F41C}" type="presParOf" srcId="{11ED52E9-39C7-4F06-BA78-9C83C8E20126}" destId="{614649A1-B11A-48DD-BE7F-186079811D7B}" srcOrd="6" destOrd="0" presId="urn:microsoft.com/office/officeart/2005/8/layout/process1"/>
    <dgm:cxn modelId="{3573F69C-9042-4092-81B3-A72A00BCB3DE}" type="presParOf" srcId="{11ED52E9-39C7-4F06-BA78-9C83C8E20126}" destId="{96B8640D-4984-4959-95DB-D12A8B6FBF4F}" srcOrd="7" destOrd="0" presId="urn:microsoft.com/office/officeart/2005/8/layout/process1"/>
    <dgm:cxn modelId="{346CF215-E685-449D-933F-A1357931F1D0}" type="presParOf" srcId="{96B8640D-4984-4959-95DB-D12A8B6FBF4F}" destId="{BD4363A0-5012-4A8C-BDFF-C19DDD5B7C7A}" srcOrd="0" destOrd="0" presId="urn:microsoft.com/office/officeart/2005/8/layout/process1"/>
    <dgm:cxn modelId="{A6955130-4D0F-485A-92CE-BE92CA59BC19}" type="presParOf" srcId="{11ED52E9-39C7-4F06-BA78-9C83C8E20126}" destId="{A3B31C88-AD9B-4920-9CA1-751711F84331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BA3553E-BF09-413B-97AA-CF95B8F5AFA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B190C64D-AB6E-4BDD-8649-8887289718B5}">
      <dgm:prSet phldrT="[Текст]"/>
      <dgm:spPr/>
      <dgm:t>
        <a:bodyPr/>
        <a:lstStyle/>
        <a:p>
          <a:r>
            <a:rPr lang="en-US" dirty="0"/>
            <a:t>Nissan</a:t>
          </a:r>
          <a:endParaRPr lang="ru-RU" dirty="0"/>
        </a:p>
      </dgm:t>
    </dgm:pt>
    <dgm:pt modelId="{248ED94A-08E4-4621-BA21-600D05F1B135}" type="parTrans" cxnId="{08F172B0-9E2A-4BE2-80CD-EB2B453F7E3C}">
      <dgm:prSet/>
      <dgm:spPr/>
      <dgm:t>
        <a:bodyPr/>
        <a:lstStyle/>
        <a:p>
          <a:endParaRPr lang="ru-RU"/>
        </a:p>
      </dgm:t>
    </dgm:pt>
    <dgm:pt modelId="{AE06F09D-5873-45A3-83B3-1C2E60E96F16}" type="sibTrans" cxnId="{08F172B0-9E2A-4BE2-80CD-EB2B453F7E3C}">
      <dgm:prSet/>
      <dgm:spPr/>
      <dgm:t>
        <a:bodyPr/>
        <a:lstStyle/>
        <a:p>
          <a:endParaRPr lang="ru-RU"/>
        </a:p>
      </dgm:t>
    </dgm:pt>
    <dgm:pt modelId="{B5CBD002-31A4-47AA-B907-2CDA51DA9FCC}">
      <dgm:prSet phldrT="[Текст]"/>
      <dgm:spPr/>
      <dgm:t>
        <a:bodyPr/>
        <a:lstStyle/>
        <a:p>
          <a:r>
            <a:rPr lang="en-US" dirty="0"/>
            <a:t>Murano_may2021</a:t>
          </a:r>
          <a:endParaRPr lang="ru-RU" dirty="0"/>
        </a:p>
      </dgm:t>
    </dgm:pt>
    <dgm:pt modelId="{DC5C46BE-EB7C-43B2-9839-B0C9A56E8A21}" type="parTrans" cxnId="{57CC919C-2A38-4FBB-9E64-3AB4BA899A21}">
      <dgm:prSet/>
      <dgm:spPr/>
      <dgm:t>
        <a:bodyPr/>
        <a:lstStyle/>
        <a:p>
          <a:endParaRPr lang="ru-RU"/>
        </a:p>
      </dgm:t>
    </dgm:pt>
    <dgm:pt modelId="{FD3DF8ED-1D5D-49C0-9A62-69F7E718C1B1}" type="sibTrans" cxnId="{57CC919C-2A38-4FBB-9E64-3AB4BA899A21}">
      <dgm:prSet/>
      <dgm:spPr/>
      <dgm:t>
        <a:bodyPr/>
        <a:lstStyle/>
        <a:p>
          <a:endParaRPr lang="ru-RU"/>
        </a:p>
      </dgm:t>
    </dgm:pt>
    <dgm:pt modelId="{FB1DFF3C-ABCB-49AF-9952-69BA4B0CBDA9}">
      <dgm:prSet phldrT="[Текст]"/>
      <dgm:spPr/>
      <dgm:t>
        <a:bodyPr/>
        <a:lstStyle/>
        <a:p>
          <a:r>
            <a:rPr lang="en-US" dirty="0"/>
            <a:t>3 000 000</a:t>
          </a:r>
          <a:r>
            <a:rPr lang="ru-RU" dirty="0"/>
            <a:t>р. С НДС и АК</a:t>
          </a:r>
        </a:p>
      </dgm:t>
    </dgm:pt>
    <dgm:pt modelId="{BD729A1F-9ECF-4FE5-852D-973AC86F97CF}" type="parTrans" cxnId="{781D05C9-9469-4E3D-B9DA-6AA11115E664}">
      <dgm:prSet/>
      <dgm:spPr/>
      <dgm:t>
        <a:bodyPr/>
        <a:lstStyle/>
        <a:p>
          <a:endParaRPr lang="ru-RU"/>
        </a:p>
      </dgm:t>
    </dgm:pt>
    <dgm:pt modelId="{AAFD842E-3417-4618-935A-133F43C9B522}" type="sibTrans" cxnId="{781D05C9-9469-4E3D-B9DA-6AA11115E664}">
      <dgm:prSet/>
      <dgm:spPr/>
      <dgm:t>
        <a:bodyPr/>
        <a:lstStyle/>
        <a:p>
          <a:endParaRPr lang="ru-RU"/>
        </a:p>
      </dgm:t>
    </dgm:pt>
    <dgm:pt modelId="{663F3CA6-F3E0-4C90-9ED0-F589D743CE2D}">
      <dgm:prSet phldrT="[Текст]"/>
      <dgm:spPr/>
      <dgm:t>
        <a:bodyPr/>
        <a:lstStyle/>
        <a:p>
          <a:r>
            <a:rPr lang="ru-RU" dirty="0"/>
            <a:t>Май 2021</a:t>
          </a:r>
        </a:p>
      </dgm:t>
    </dgm:pt>
    <dgm:pt modelId="{312E612B-444B-4C3B-8F18-BAC99D95FD34}" type="parTrans" cxnId="{59DAD8AB-68A0-4688-9964-C5417869DA3A}">
      <dgm:prSet/>
      <dgm:spPr/>
      <dgm:t>
        <a:bodyPr/>
        <a:lstStyle/>
        <a:p>
          <a:endParaRPr lang="ru-RU"/>
        </a:p>
      </dgm:t>
    </dgm:pt>
    <dgm:pt modelId="{565196A4-E5E3-4323-A134-2403B01C9B15}" type="sibTrans" cxnId="{59DAD8AB-68A0-4688-9964-C5417869DA3A}">
      <dgm:prSet/>
      <dgm:spPr/>
      <dgm:t>
        <a:bodyPr/>
        <a:lstStyle/>
        <a:p>
          <a:endParaRPr lang="ru-RU"/>
        </a:p>
      </dgm:t>
    </dgm:pt>
    <dgm:pt modelId="{B64919F2-C450-4206-B468-772C311C1963}">
      <dgm:prSet phldrT="[Текст]"/>
      <dgm:spPr/>
      <dgm:t>
        <a:bodyPr/>
        <a:lstStyle/>
        <a:p>
          <a:r>
            <a:rPr lang="ru-RU" dirty="0"/>
            <a:t>Карточка проекта</a:t>
          </a:r>
        </a:p>
      </dgm:t>
    </dgm:pt>
    <dgm:pt modelId="{8B4D2AEE-6898-4008-B726-B9A721E47654}" type="parTrans" cxnId="{64C68337-E654-488A-B1A3-2B539683DC20}">
      <dgm:prSet/>
      <dgm:spPr/>
      <dgm:t>
        <a:bodyPr/>
        <a:lstStyle/>
        <a:p>
          <a:endParaRPr lang="ru-RU"/>
        </a:p>
      </dgm:t>
    </dgm:pt>
    <dgm:pt modelId="{CCE47AAE-EE18-422C-9954-ABF97FB87FC3}" type="sibTrans" cxnId="{64C68337-E654-488A-B1A3-2B539683DC20}">
      <dgm:prSet/>
      <dgm:spPr/>
      <dgm:t>
        <a:bodyPr/>
        <a:lstStyle/>
        <a:p>
          <a:endParaRPr lang="ru-RU"/>
        </a:p>
      </dgm:t>
    </dgm:pt>
    <dgm:pt modelId="{11ED52E9-39C7-4F06-BA78-9C83C8E20126}" type="pres">
      <dgm:prSet presAssocID="{EBA3553E-BF09-413B-97AA-CF95B8F5AFA3}" presName="Name0" presStyleCnt="0">
        <dgm:presLayoutVars>
          <dgm:dir/>
          <dgm:resizeHandles val="exact"/>
        </dgm:presLayoutVars>
      </dgm:prSet>
      <dgm:spPr/>
    </dgm:pt>
    <dgm:pt modelId="{0D90DF8D-25D8-439A-A8E7-46A319272EB3}" type="pres">
      <dgm:prSet presAssocID="{B190C64D-AB6E-4BDD-8649-8887289718B5}" presName="node" presStyleLbl="node1" presStyleIdx="0" presStyleCnt="5">
        <dgm:presLayoutVars>
          <dgm:bulletEnabled val="1"/>
        </dgm:presLayoutVars>
      </dgm:prSet>
      <dgm:spPr/>
    </dgm:pt>
    <dgm:pt modelId="{170BBF24-665E-4305-B1B3-73CB72AF1285}" type="pres">
      <dgm:prSet presAssocID="{AE06F09D-5873-45A3-83B3-1C2E60E96F16}" presName="sibTrans" presStyleLbl="sibTrans2D1" presStyleIdx="0" presStyleCnt="4"/>
      <dgm:spPr/>
    </dgm:pt>
    <dgm:pt modelId="{30BF1F89-8CCA-40AE-AC42-5A23F3208CB0}" type="pres">
      <dgm:prSet presAssocID="{AE06F09D-5873-45A3-83B3-1C2E60E96F16}" presName="connectorText" presStyleLbl="sibTrans2D1" presStyleIdx="0" presStyleCnt="4"/>
      <dgm:spPr/>
    </dgm:pt>
    <dgm:pt modelId="{80F42B50-0ABA-4044-8856-968A620AF24C}" type="pres">
      <dgm:prSet presAssocID="{B5CBD002-31A4-47AA-B907-2CDA51DA9FCC}" presName="node" presStyleLbl="node1" presStyleIdx="1" presStyleCnt="5">
        <dgm:presLayoutVars>
          <dgm:bulletEnabled val="1"/>
        </dgm:presLayoutVars>
      </dgm:prSet>
      <dgm:spPr/>
    </dgm:pt>
    <dgm:pt modelId="{6E7541FA-B3BE-4F1B-B04A-46EF764F0B0F}" type="pres">
      <dgm:prSet presAssocID="{FD3DF8ED-1D5D-49C0-9A62-69F7E718C1B1}" presName="sibTrans" presStyleLbl="sibTrans2D1" presStyleIdx="1" presStyleCnt="4"/>
      <dgm:spPr/>
    </dgm:pt>
    <dgm:pt modelId="{B7487A31-1A89-415F-BFFF-38DB52C7A2D9}" type="pres">
      <dgm:prSet presAssocID="{FD3DF8ED-1D5D-49C0-9A62-69F7E718C1B1}" presName="connectorText" presStyleLbl="sibTrans2D1" presStyleIdx="1" presStyleCnt="4"/>
      <dgm:spPr/>
    </dgm:pt>
    <dgm:pt modelId="{99296784-CB10-48BC-A26A-45A698EA109A}" type="pres">
      <dgm:prSet presAssocID="{FB1DFF3C-ABCB-49AF-9952-69BA4B0CBDA9}" presName="node" presStyleLbl="node1" presStyleIdx="2" presStyleCnt="5">
        <dgm:presLayoutVars>
          <dgm:bulletEnabled val="1"/>
        </dgm:presLayoutVars>
      </dgm:prSet>
      <dgm:spPr/>
    </dgm:pt>
    <dgm:pt modelId="{04A0B140-E887-46AE-918B-D2EC3B58B8A6}" type="pres">
      <dgm:prSet presAssocID="{AAFD842E-3417-4618-935A-133F43C9B522}" presName="sibTrans" presStyleLbl="sibTrans2D1" presStyleIdx="2" presStyleCnt="4"/>
      <dgm:spPr/>
    </dgm:pt>
    <dgm:pt modelId="{2230B7F5-02A2-4155-9658-9A9E48D1F409}" type="pres">
      <dgm:prSet presAssocID="{AAFD842E-3417-4618-935A-133F43C9B522}" presName="connectorText" presStyleLbl="sibTrans2D1" presStyleIdx="2" presStyleCnt="4"/>
      <dgm:spPr/>
    </dgm:pt>
    <dgm:pt modelId="{614649A1-B11A-48DD-BE7F-186079811D7B}" type="pres">
      <dgm:prSet presAssocID="{663F3CA6-F3E0-4C90-9ED0-F589D743CE2D}" presName="node" presStyleLbl="node1" presStyleIdx="3" presStyleCnt="5">
        <dgm:presLayoutVars>
          <dgm:bulletEnabled val="1"/>
        </dgm:presLayoutVars>
      </dgm:prSet>
      <dgm:spPr/>
    </dgm:pt>
    <dgm:pt modelId="{96B8640D-4984-4959-95DB-D12A8B6FBF4F}" type="pres">
      <dgm:prSet presAssocID="{565196A4-E5E3-4323-A134-2403B01C9B15}" presName="sibTrans" presStyleLbl="sibTrans2D1" presStyleIdx="3" presStyleCnt="4"/>
      <dgm:spPr/>
    </dgm:pt>
    <dgm:pt modelId="{BD4363A0-5012-4A8C-BDFF-C19DDD5B7C7A}" type="pres">
      <dgm:prSet presAssocID="{565196A4-E5E3-4323-A134-2403B01C9B15}" presName="connectorText" presStyleLbl="sibTrans2D1" presStyleIdx="3" presStyleCnt="4"/>
      <dgm:spPr/>
    </dgm:pt>
    <dgm:pt modelId="{A3B31C88-AD9B-4920-9CA1-751711F84331}" type="pres">
      <dgm:prSet presAssocID="{B64919F2-C450-4206-B468-772C311C1963}" presName="node" presStyleLbl="node1" presStyleIdx="4" presStyleCnt="5" custScaleX="137532">
        <dgm:presLayoutVars>
          <dgm:bulletEnabled val="1"/>
        </dgm:presLayoutVars>
      </dgm:prSet>
      <dgm:spPr/>
    </dgm:pt>
  </dgm:ptLst>
  <dgm:cxnLst>
    <dgm:cxn modelId="{4CFD9D04-EADB-4A77-9D7B-6790BCC09623}" type="presOf" srcId="{B64919F2-C450-4206-B468-772C311C1963}" destId="{A3B31C88-AD9B-4920-9CA1-751711F84331}" srcOrd="0" destOrd="0" presId="urn:microsoft.com/office/officeart/2005/8/layout/process1"/>
    <dgm:cxn modelId="{7C2F6B2B-F312-42D4-A786-A98B1BD244CD}" type="presOf" srcId="{565196A4-E5E3-4323-A134-2403B01C9B15}" destId="{96B8640D-4984-4959-95DB-D12A8B6FBF4F}" srcOrd="0" destOrd="0" presId="urn:microsoft.com/office/officeart/2005/8/layout/process1"/>
    <dgm:cxn modelId="{E5F7352D-B9D1-4B57-BE5D-BB60B17F9973}" type="presOf" srcId="{EBA3553E-BF09-413B-97AA-CF95B8F5AFA3}" destId="{11ED52E9-39C7-4F06-BA78-9C83C8E20126}" srcOrd="0" destOrd="0" presId="urn:microsoft.com/office/officeart/2005/8/layout/process1"/>
    <dgm:cxn modelId="{64C68337-E654-488A-B1A3-2B539683DC20}" srcId="{EBA3553E-BF09-413B-97AA-CF95B8F5AFA3}" destId="{B64919F2-C450-4206-B468-772C311C1963}" srcOrd="4" destOrd="0" parTransId="{8B4D2AEE-6898-4008-B726-B9A721E47654}" sibTransId="{CCE47AAE-EE18-422C-9954-ABF97FB87FC3}"/>
    <dgm:cxn modelId="{220D383A-344B-40AB-869C-0C52691918C1}" type="presOf" srcId="{AAFD842E-3417-4618-935A-133F43C9B522}" destId="{2230B7F5-02A2-4155-9658-9A9E48D1F409}" srcOrd="1" destOrd="0" presId="urn:microsoft.com/office/officeart/2005/8/layout/process1"/>
    <dgm:cxn modelId="{CA277241-27C4-4A79-82EE-E339E31F70F1}" type="presOf" srcId="{FD3DF8ED-1D5D-49C0-9A62-69F7E718C1B1}" destId="{6E7541FA-B3BE-4F1B-B04A-46EF764F0B0F}" srcOrd="0" destOrd="0" presId="urn:microsoft.com/office/officeart/2005/8/layout/process1"/>
    <dgm:cxn modelId="{A0B3284F-6273-4F63-9680-366B3D847322}" type="presOf" srcId="{663F3CA6-F3E0-4C90-9ED0-F589D743CE2D}" destId="{614649A1-B11A-48DD-BE7F-186079811D7B}" srcOrd="0" destOrd="0" presId="urn:microsoft.com/office/officeart/2005/8/layout/process1"/>
    <dgm:cxn modelId="{878CDA53-6F7D-48F2-A418-72B51D5315CF}" type="presOf" srcId="{AE06F09D-5873-45A3-83B3-1C2E60E96F16}" destId="{30BF1F89-8CCA-40AE-AC42-5A23F3208CB0}" srcOrd="1" destOrd="0" presId="urn:microsoft.com/office/officeart/2005/8/layout/process1"/>
    <dgm:cxn modelId="{3E1A9274-DEB4-4B66-929A-30091864AE64}" type="presOf" srcId="{B5CBD002-31A4-47AA-B907-2CDA51DA9FCC}" destId="{80F42B50-0ABA-4044-8856-968A620AF24C}" srcOrd="0" destOrd="0" presId="urn:microsoft.com/office/officeart/2005/8/layout/process1"/>
    <dgm:cxn modelId="{BA41E189-2F0C-4EBC-8A75-AD4C3BF16D84}" type="presOf" srcId="{AE06F09D-5873-45A3-83B3-1C2E60E96F16}" destId="{170BBF24-665E-4305-B1B3-73CB72AF1285}" srcOrd="0" destOrd="0" presId="urn:microsoft.com/office/officeart/2005/8/layout/process1"/>
    <dgm:cxn modelId="{627B319C-C2CD-4EFA-852E-8D80B7E9B5A7}" type="presOf" srcId="{FB1DFF3C-ABCB-49AF-9952-69BA4B0CBDA9}" destId="{99296784-CB10-48BC-A26A-45A698EA109A}" srcOrd="0" destOrd="0" presId="urn:microsoft.com/office/officeart/2005/8/layout/process1"/>
    <dgm:cxn modelId="{57CC919C-2A38-4FBB-9E64-3AB4BA899A21}" srcId="{EBA3553E-BF09-413B-97AA-CF95B8F5AFA3}" destId="{B5CBD002-31A4-47AA-B907-2CDA51DA9FCC}" srcOrd="1" destOrd="0" parTransId="{DC5C46BE-EB7C-43B2-9839-B0C9A56E8A21}" sibTransId="{FD3DF8ED-1D5D-49C0-9A62-69F7E718C1B1}"/>
    <dgm:cxn modelId="{59DAD8AB-68A0-4688-9964-C5417869DA3A}" srcId="{EBA3553E-BF09-413B-97AA-CF95B8F5AFA3}" destId="{663F3CA6-F3E0-4C90-9ED0-F589D743CE2D}" srcOrd="3" destOrd="0" parTransId="{312E612B-444B-4C3B-8F18-BAC99D95FD34}" sibTransId="{565196A4-E5E3-4323-A134-2403B01C9B15}"/>
    <dgm:cxn modelId="{08F172B0-9E2A-4BE2-80CD-EB2B453F7E3C}" srcId="{EBA3553E-BF09-413B-97AA-CF95B8F5AFA3}" destId="{B190C64D-AB6E-4BDD-8649-8887289718B5}" srcOrd="0" destOrd="0" parTransId="{248ED94A-08E4-4621-BA21-600D05F1B135}" sibTransId="{AE06F09D-5873-45A3-83B3-1C2E60E96F16}"/>
    <dgm:cxn modelId="{781D05C9-9469-4E3D-B9DA-6AA11115E664}" srcId="{EBA3553E-BF09-413B-97AA-CF95B8F5AFA3}" destId="{FB1DFF3C-ABCB-49AF-9952-69BA4B0CBDA9}" srcOrd="2" destOrd="0" parTransId="{BD729A1F-9ECF-4FE5-852D-973AC86F97CF}" sibTransId="{AAFD842E-3417-4618-935A-133F43C9B522}"/>
    <dgm:cxn modelId="{1954A6CE-B95C-4F5D-B7D9-DA780B95BA97}" type="presOf" srcId="{FD3DF8ED-1D5D-49C0-9A62-69F7E718C1B1}" destId="{B7487A31-1A89-415F-BFFF-38DB52C7A2D9}" srcOrd="1" destOrd="0" presId="urn:microsoft.com/office/officeart/2005/8/layout/process1"/>
    <dgm:cxn modelId="{92451BD0-740B-4BDD-9796-DF7615300976}" type="presOf" srcId="{B190C64D-AB6E-4BDD-8649-8887289718B5}" destId="{0D90DF8D-25D8-439A-A8E7-46A319272EB3}" srcOrd="0" destOrd="0" presId="urn:microsoft.com/office/officeart/2005/8/layout/process1"/>
    <dgm:cxn modelId="{F2F3FBF4-BF12-4B5B-8215-D73E1D909D40}" type="presOf" srcId="{565196A4-E5E3-4323-A134-2403B01C9B15}" destId="{BD4363A0-5012-4A8C-BDFF-C19DDD5B7C7A}" srcOrd="1" destOrd="0" presId="urn:microsoft.com/office/officeart/2005/8/layout/process1"/>
    <dgm:cxn modelId="{F72582F6-9C5D-4530-83A9-C8BC0CDD8259}" type="presOf" srcId="{AAFD842E-3417-4618-935A-133F43C9B522}" destId="{04A0B140-E887-46AE-918B-D2EC3B58B8A6}" srcOrd="0" destOrd="0" presId="urn:microsoft.com/office/officeart/2005/8/layout/process1"/>
    <dgm:cxn modelId="{25C32929-7541-4E05-8C95-4DC7D844C742}" type="presParOf" srcId="{11ED52E9-39C7-4F06-BA78-9C83C8E20126}" destId="{0D90DF8D-25D8-439A-A8E7-46A319272EB3}" srcOrd="0" destOrd="0" presId="urn:microsoft.com/office/officeart/2005/8/layout/process1"/>
    <dgm:cxn modelId="{EC9107EF-D12F-420F-9954-D1EF642897D3}" type="presParOf" srcId="{11ED52E9-39C7-4F06-BA78-9C83C8E20126}" destId="{170BBF24-665E-4305-B1B3-73CB72AF1285}" srcOrd="1" destOrd="0" presId="urn:microsoft.com/office/officeart/2005/8/layout/process1"/>
    <dgm:cxn modelId="{8A0AC5CF-6316-4CD2-9AE2-B2911FB25B3B}" type="presParOf" srcId="{170BBF24-665E-4305-B1B3-73CB72AF1285}" destId="{30BF1F89-8CCA-40AE-AC42-5A23F3208CB0}" srcOrd="0" destOrd="0" presId="urn:microsoft.com/office/officeart/2005/8/layout/process1"/>
    <dgm:cxn modelId="{1FE11CD0-0F1F-4B94-952D-9F19662C72FE}" type="presParOf" srcId="{11ED52E9-39C7-4F06-BA78-9C83C8E20126}" destId="{80F42B50-0ABA-4044-8856-968A620AF24C}" srcOrd="2" destOrd="0" presId="urn:microsoft.com/office/officeart/2005/8/layout/process1"/>
    <dgm:cxn modelId="{F9EC1B8C-BFD4-437F-B439-D48AA2166747}" type="presParOf" srcId="{11ED52E9-39C7-4F06-BA78-9C83C8E20126}" destId="{6E7541FA-B3BE-4F1B-B04A-46EF764F0B0F}" srcOrd="3" destOrd="0" presId="urn:microsoft.com/office/officeart/2005/8/layout/process1"/>
    <dgm:cxn modelId="{D8E08802-AA20-48F5-9D51-0ED1C915F296}" type="presParOf" srcId="{6E7541FA-B3BE-4F1B-B04A-46EF764F0B0F}" destId="{B7487A31-1A89-415F-BFFF-38DB52C7A2D9}" srcOrd="0" destOrd="0" presId="urn:microsoft.com/office/officeart/2005/8/layout/process1"/>
    <dgm:cxn modelId="{AA798C61-9C97-44EA-B4E2-CC9C533EE75C}" type="presParOf" srcId="{11ED52E9-39C7-4F06-BA78-9C83C8E20126}" destId="{99296784-CB10-48BC-A26A-45A698EA109A}" srcOrd="4" destOrd="0" presId="urn:microsoft.com/office/officeart/2005/8/layout/process1"/>
    <dgm:cxn modelId="{78ABDDC3-5C9F-4628-A37B-44C1E74AA066}" type="presParOf" srcId="{11ED52E9-39C7-4F06-BA78-9C83C8E20126}" destId="{04A0B140-E887-46AE-918B-D2EC3B58B8A6}" srcOrd="5" destOrd="0" presId="urn:microsoft.com/office/officeart/2005/8/layout/process1"/>
    <dgm:cxn modelId="{F80E55B1-6191-48FB-AFAF-0B36182DB50B}" type="presParOf" srcId="{04A0B140-E887-46AE-918B-D2EC3B58B8A6}" destId="{2230B7F5-02A2-4155-9658-9A9E48D1F409}" srcOrd="0" destOrd="0" presId="urn:microsoft.com/office/officeart/2005/8/layout/process1"/>
    <dgm:cxn modelId="{758114D6-7FA1-4F7F-9E7D-E4E587E5F41C}" type="presParOf" srcId="{11ED52E9-39C7-4F06-BA78-9C83C8E20126}" destId="{614649A1-B11A-48DD-BE7F-186079811D7B}" srcOrd="6" destOrd="0" presId="urn:microsoft.com/office/officeart/2005/8/layout/process1"/>
    <dgm:cxn modelId="{3573F69C-9042-4092-81B3-A72A00BCB3DE}" type="presParOf" srcId="{11ED52E9-39C7-4F06-BA78-9C83C8E20126}" destId="{96B8640D-4984-4959-95DB-D12A8B6FBF4F}" srcOrd="7" destOrd="0" presId="urn:microsoft.com/office/officeart/2005/8/layout/process1"/>
    <dgm:cxn modelId="{346CF215-E685-449D-933F-A1357931F1D0}" type="presParOf" srcId="{96B8640D-4984-4959-95DB-D12A8B6FBF4F}" destId="{BD4363A0-5012-4A8C-BDFF-C19DDD5B7C7A}" srcOrd="0" destOrd="0" presId="urn:microsoft.com/office/officeart/2005/8/layout/process1"/>
    <dgm:cxn modelId="{A6955130-4D0F-485A-92CE-BE92CA59BC19}" type="presParOf" srcId="{11ED52E9-39C7-4F06-BA78-9C83C8E20126}" destId="{A3B31C88-AD9B-4920-9CA1-751711F84331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5183EB-9414-40EB-BB23-BCBE83E06E9F}">
      <dsp:nvSpPr>
        <dsp:cNvPr id="0" name=""/>
        <dsp:cNvSpPr/>
      </dsp:nvSpPr>
      <dsp:spPr>
        <a:xfrm rot="16200000">
          <a:off x="877" y="488523"/>
          <a:ext cx="5513912" cy="5513912"/>
        </a:xfrm>
        <a:prstGeom prst="downArrow">
          <a:avLst>
            <a:gd name="adj1" fmla="val 50000"/>
            <a:gd name="adj2" fmla="val 35000"/>
          </a:avLst>
        </a:prstGeom>
        <a:solidFill>
          <a:schemeClr val="bg1">
            <a:lumMod val="75000"/>
          </a:schemeClr>
        </a:solidFill>
        <a:ln w="2642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608" tIns="419608" rIns="419608" bIns="419608" numCol="1" spcCol="1270" anchor="ctr" anchorCtr="0">
          <a:noAutofit/>
        </a:bodyPr>
        <a:lstStyle/>
        <a:p>
          <a:pPr marL="0" lvl="0" indent="0" algn="ctr" defTabSz="2622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5900" kern="1200" dirty="0"/>
            <a:t>БРИФ</a:t>
          </a:r>
        </a:p>
      </dsp:txBody>
      <dsp:txXfrm rot="5400000">
        <a:off x="878" y="1867000"/>
        <a:ext cx="4548977" cy="2756956"/>
      </dsp:txXfrm>
    </dsp:sp>
    <dsp:sp modelId="{AADE95F5-2C9C-4B50-BC12-E239BCF7EDF9}">
      <dsp:nvSpPr>
        <dsp:cNvPr id="0" name=""/>
        <dsp:cNvSpPr/>
      </dsp:nvSpPr>
      <dsp:spPr>
        <a:xfrm rot="5400000">
          <a:off x="5834449" y="488523"/>
          <a:ext cx="5513912" cy="5513912"/>
        </a:xfrm>
        <a:prstGeom prst="downArrow">
          <a:avLst>
            <a:gd name="adj1" fmla="val 50000"/>
            <a:gd name="adj2" fmla="val 35000"/>
          </a:avLst>
        </a:prstGeom>
        <a:solidFill>
          <a:schemeClr val="bg1">
            <a:lumMod val="75000"/>
          </a:schemeClr>
        </a:solidFill>
        <a:ln w="2642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608" tIns="419608" rIns="419608" bIns="419608" numCol="1" spcCol="1270" anchor="ctr" anchorCtr="0">
          <a:noAutofit/>
        </a:bodyPr>
        <a:lstStyle/>
        <a:p>
          <a:pPr marL="0" lvl="0" indent="0" algn="ctr" defTabSz="2622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5900" kern="1200" dirty="0"/>
            <a:t>УСЛОВИЯ СЕЛЛЕРОВ</a:t>
          </a:r>
        </a:p>
      </dsp:txBody>
      <dsp:txXfrm rot="-5400000">
        <a:off x="6799385" y="1867001"/>
        <a:ext cx="4548977" cy="275695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90DF8D-25D8-439A-A8E7-46A319272EB3}">
      <dsp:nvSpPr>
        <dsp:cNvPr id="0" name=""/>
        <dsp:cNvSpPr/>
      </dsp:nvSpPr>
      <dsp:spPr>
        <a:xfrm>
          <a:off x="2655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Клиент</a:t>
          </a:r>
        </a:p>
      </dsp:txBody>
      <dsp:txXfrm>
        <a:off x="17739" y="15084"/>
        <a:ext cx="2066516" cy="484834"/>
      </dsp:txXfrm>
    </dsp:sp>
    <dsp:sp modelId="{170BBF24-665E-4305-B1B3-73CB72AF1285}">
      <dsp:nvSpPr>
        <dsp:cNvPr id="0" name=""/>
        <dsp:cNvSpPr/>
      </dsp:nvSpPr>
      <dsp:spPr>
        <a:xfrm>
          <a:off x="2309008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/>
        </a:p>
      </dsp:txBody>
      <dsp:txXfrm>
        <a:off x="2309008" y="103000"/>
        <a:ext cx="311148" cy="309002"/>
      </dsp:txXfrm>
    </dsp:sp>
    <dsp:sp modelId="{80F42B50-0ABA-4044-8856-968A620AF24C}">
      <dsp:nvSpPr>
        <dsp:cNvPr id="0" name=""/>
        <dsp:cNvSpPr/>
      </dsp:nvSpPr>
      <dsp:spPr>
        <a:xfrm>
          <a:off x="2938014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Название РК</a:t>
          </a:r>
        </a:p>
      </dsp:txBody>
      <dsp:txXfrm>
        <a:off x="2953098" y="15084"/>
        <a:ext cx="2066516" cy="484834"/>
      </dsp:txXfrm>
    </dsp:sp>
    <dsp:sp modelId="{6E7541FA-B3BE-4F1B-B04A-46EF764F0B0F}">
      <dsp:nvSpPr>
        <dsp:cNvPr id="0" name=""/>
        <dsp:cNvSpPr/>
      </dsp:nvSpPr>
      <dsp:spPr>
        <a:xfrm>
          <a:off x="5244367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/>
        </a:p>
      </dsp:txBody>
      <dsp:txXfrm>
        <a:off x="5244367" y="103000"/>
        <a:ext cx="311148" cy="309002"/>
      </dsp:txXfrm>
    </dsp:sp>
    <dsp:sp modelId="{99296784-CB10-48BC-A26A-45A698EA109A}">
      <dsp:nvSpPr>
        <dsp:cNvPr id="0" name=""/>
        <dsp:cNvSpPr/>
      </dsp:nvSpPr>
      <dsp:spPr>
        <a:xfrm>
          <a:off x="5873372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Бюджет</a:t>
          </a:r>
        </a:p>
      </dsp:txBody>
      <dsp:txXfrm>
        <a:off x="5888456" y="15084"/>
        <a:ext cx="2066516" cy="484834"/>
      </dsp:txXfrm>
    </dsp:sp>
    <dsp:sp modelId="{04A0B140-E887-46AE-918B-D2EC3B58B8A6}">
      <dsp:nvSpPr>
        <dsp:cNvPr id="0" name=""/>
        <dsp:cNvSpPr/>
      </dsp:nvSpPr>
      <dsp:spPr>
        <a:xfrm>
          <a:off x="8179725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/>
        </a:p>
      </dsp:txBody>
      <dsp:txXfrm>
        <a:off x="8179725" y="103000"/>
        <a:ext cx="311148" cy="309002"/>
      </dsp:txXfrm>
    </dsp:sp>
    <dsp:sp modelId="{614649A1-B11A-48DD-BE7F-186079811D7B}">
      <dsp:nvSpPr>
        <dsp:cNvPr id="0" name=""/>
        <dsp:cNvSpPr/>
      </dsp:nvSpPr>
      <dsp:spPr>
        <a:xfrm>
          <a:off x="8808730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Период</a:t>
          </a:r>
        </a:p>
      </dsp:txBody>
      <dsp:txXfrm>
        <a:off x="8823814" y="15084"/>
        <a:ext cx="2066516" cy="484834"/>
      </dsp:txXfrm>
    </dsp:sp>
    <dsp:sp modelId="{96B8640D-4984-4959-95DB-D12A8B6FBF4F}">
      <dsp:nvSpPr>
        <dsp:cNvPr id="0" name=""/>
        <dsp:cNvSpPr/>
      </dsp:nvSpPr>
      <dsp:spPr>
        <a:xfrm>
          <a:off x="11115083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/>
        </a:p>
      </dsp:txBody>
      <dsp:txXfrm>
        <a:off x="11115083" y="103000"/>
        <a:ext cx="311148" cy="309002"/>
      </dsp:txXfrm>
    </dsp:sp>
    <dsp:sp modelId="{A3B31C88-AD9B-4920-9CA1-751711F84331}">
      <dsp:nvSpPr>
        <dsp:cNvPr id="0" name=""/>
        <dsp:cNvSpPr/>
      </dsp:nvSpPr>
      <dsp:spPr>
        <a:xfrm>
          <a:off x="11744088" y="0"/>
          <a:ext cx="2883612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Карточка проекта</a:t>
          </a:r>
        </a:p>
      </dsp:txBody>
      <dsp:txXfrm>
        <a:off x="11759172" y="15084"/>
        <a:ext cx="2853444" cy="48483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50F935-EB52-4CB0-B07F-8E92BBE5E9B7}">
      <dsp:nvSpPr>
        <dsp:cNvPr id="0" name=""/>
        <dsp:cNvSpPr/>
      </dsp:nvSpPr>
      <dsp:spPr>
        <a:xfrm>
          <a:off x="2642320" y="851"/>
          <a:ext cx="2364083" cy="11820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Бриф</a:t>
          </a:r>
        </a:p>
      </dsp:txBody>
      <dsp:txXfrm>
        <a:off x="2676941" y="35472"/>
        <a:ext cx="2294841" cy="1112799"/>
      </dsp:txXfrm>
    </dsp:sp>
    <dsp:sp modelId="{68EDA734-884A-4D8F-BA0E-CF399DF1ABAE}">
      <dsp:nvSpPr>
        <dsp:cNvPr id="0" name=""/>
        <dsp:cNvSpPr/>
      </dsp:nvSpPr>
      <dsp:spPr>
        <a:xfrm rot="3600000">
          <a:off x="4184858" y="2074159"/>
          <a:ext cx="1229463" cy="413714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/>
        </a:p>
      </dsp:txBody>
      <dsp:txXfrm>
        <a:off x="4308972" y="2156902"/>
        <a:ext cx="981235" cy="248228"/>
      </dsp:txXfrm>
    </dsp:sp>
    <dsp:sp modelId="{A35E28BD-533B-4587-81F8-E51C7BBC7236}">
      <dsp:nvSpPr>
        <dsp:cNvPr id="0" name=""/>
        <dsp:cNvSpPr/>
      </dsp:nvSpPr>
      <dsp:spPr>
        <a:xfrm>
          <a:off x="4592777" y="3379141"/>
          <a:ext cx="2364083" cy="11820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огласование МП</a:t>
          </a:r>
        </a:p>
      </dsp:txBody>
      <dsp:txXfrm>
        <a:off x="4627398" y="3413762"/>
        <a:ext cx="2294841" cy="1112799"/>
      </dsp:txXfrm>
    </dsp:sp>
    <dsp:sp modelId="{994C8A28-8659-4173-A716-80D821937916}">
      <dsp:nvSpPr>
        <dsp:cNvPr id="0" name=""/>
        <dsp:cNvSpPr/>
      </dsp:nvSpPr>
      <dsp:spPr>
        <a:xfrm rot="10800000">
          <a:off x="3209630" y="3763304"/>
          <a:ext cx="1229463" cy="413714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/>
        </a:p>
      </dsp:txBody>
      <dsp:txXfrm rot="10800000">
        <a:off x="3333744" y="3846047"/>
        <a:ext cx="981235" cy="248228"/>
      </dsp:txXfrm>
    </dsp:sp>
    <dsp:sp modelId="{079FA7CC-3BD9-464A-A1FE-F873D8EA00DE}">
      <dsp:nvSpPr>
        <dsp:cNvPr id="0" name=""/>
        <dsp:cNvSpPr/>
      </dsp:nvSpPr>
      <dsp:spPr>
        <a:xfrm>
          <a:off x="691864" y="3379141"/>
          <a:ext cx="2364083" cy="11820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инергия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 err="1"/>
            <a:t>Бриф+файл+отчеты</a:t>
          </a:r>
          <a:r>
            <a:rPr lang="ru-RU" sz="1700" kern="1200" dirty="0"/>
            <a:t>=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расчеты по брифу</a:t>
          </a:r>
        </a:p>
      </dsp:txBody>
      <dsp:txXfrm>
        <a:off x="726485" y="3413762"/>
        <a:ext cx="2294841" cy="1112799"/>
      </dsp:txXfrm>
    </dsp:sp>
    <dsp:sp modelId="{50A1709A-C861-412D-927D-DDFD13316702}">
      <dsp:nvSpPr>
        <dsp:cNvPr id="0" name=""/>
        <dsp:cNvSpPr/>
      </dsp:nvSpPr>
      <dsp:spPr>
        <a:xfrm rot="18000000">
          <a:off x="2234402" y="2074159"/>
          <a:ext cx="1229463" cy="413714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/>
        </a:p>
      </dsp:txBody>
      <dsp:txXfrm>
        <a:off x="2358516" y="2156902"/>
        <a:ext cx="981235" cy="24822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8851E0-8A56-4650-B7AC-FDFACEF0B240}">
      <dsp:nvSpPr>
        <dsp:cNvPr id="0" name=""/>
        <dsp:cNvSpPr/>
      </dsp:nvSpPr>
      <dsp:spPr>
        <a:xfrm>
          <a:off x="1868" y="1265898"/>
          <a:ext cx="2276446" cy="910578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Расчет</a:t>
          </a:r>
        </a:p>
      </dsp:txBody>
      <dsp:txXfrm>
        <a:off x="457157" y="1265898"/>
        <a:ext cx="1365868" cy="910578"/>
      </dsp:txXfrm>
    </dsp:sp>
    <dsp:sp modelId="{32743348-AFFD-4B93-9544-686E40C80E37}">
      <dsp:nvSpPr>
        <dsp:cNvPr id="0" name=""/>
        <dsp:cNvSpPr/>
      </dsp:nvSpPr>
      <dsp:spPr>
        <a:xfrm>
          <a:off x="2050670" y="1265898"/>
          <a:ext cx="2276446" cy="910578"/>
        </a:xfrm>
        <a:prstGeom prst="chevron">
          <a:avLst/>
        </a:prstGeom>
        <a:solidFill>
          <a:schemeClr val="accent2">
            <a:hueOff val="-9182260"/>
            <a:satOff val="-34426"/>
            <a:lumOff val="15588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Выбор позиций</a:t>
          </a:r>
        </a:p>
      </dsp:txBody>
      <dsp:txXfrm>
        <a:off x="2505959" y="1265898"/>
        <a:ext cx="1365868" cy="910578"/>
      </dsp:txXfrm>
    </dsp:sp>
    <dsp:sp modelId="{1A944C27-2C58-4609-BC55-D164309117B3}">
      <dsp:nvSpPr>
        <dsp:cNvPr id="0" name=""/>
        <dsp:cNvSpPr/>
      </dsp:nvSpPr>
      <dsp:spPr>
        <a:xfrm>
          <a:off x="4099472" y="1265898"/>
          <a:ext cx="2276446" cy="910578"/>
        </a:xfrm>
        <a:prstGeom prst="chevron">
          <a:avLst/>
        </a:prstGeom>
        <a:solidFill>
          <a:schemeClr val="accent2">
            <a:hueOff val="-18364519"/>
            <a:satOff val="-68852"/>
            <a:lumOff val="31176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Загрузка расчета</a:t>
          </a:r>
        </a:p>
      </dsp:txBody>
      <dsp:txXfrm>
        <a:off x="4554761" y="1265898"/>
        <a:ext cx="1365868" cy="9105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C5CBDE-9AE9-4C7E-9F0D-DB0AF8058AF4}">
      <dsp:nvSpPr>
        <dsp:cNvPr id="0" name=""/>
        <dsp:cNvSpPr/>
      </dsp:nvSpPr>
      <dsp:spPr>
        <a:xfrm rot="13200000">
          <a:off x="3918648" y="2785450"/>
          <a:ext cx="7538483" cy="5257152"/>
        </a:xfrm>
        <a:prstGeom prst="swooshArrow">
          <a:avLst>
            <a:gd name="adj1" fmla="val 16310"/>
            <a:gd name="adj2" fmla="val 31370"/>
          </a:avLst>
        </a:prstGeom>
        <a:solidFill>
          <a:srgbClr val="FFD8DB"/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1F9B9F-E618-467C-9B42-EC76954B5DF3}">
      <dsp:nvSpPr>
        <dsp:cNvPr id="0" name=""/>
        <dsp:cNvSpPr/>
      </dsp:nvSpPr>
      <dsp:spPr>
        <a:xfrm>
          <a:off x="3729749" y="6747645"/>
          <a:ext cx="9369124" cy="13972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b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200" kern="1200" dirty="0"/>
            <a:t>ЭКСПЕРТИЗА РЕКЛАМНОГО АГЕНТСТВА</a:t>
          </a:r>
        </a:p>
      </dsp:txBody>
      <dsp:txXfrm>
        <a:off x="3729749" y="6747645"/>
        <a:ext cx="9369124" cy="13972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D5A2C3-0857-4DD2-A586-29293ECA4959}">
      <dsp:nvSpPr>
        <dsp:cNvPr id="0" name=""/>
        <dsp:cNvSpPr/>
      </dsp:nvSpPr>
      <dsp:spPr>
        <a:xfrm>
          <a:off x="3846" y="1138418"/>
          <a:ext cx="1135090" cy="1135090"/>
        </a:xfrm>
        <a:prstGeom prst="chord">
          <a:avLst>
            <a:gd name="adj1" fmla="val 4800000"/>
            <a:gd name="adj2" fmla="val 1680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36DE4E-FDAD-4CD7-BD9F-D6E7D28F2FAB}">
      <dsp:nvSpPr>
        <dsp:cNvPr id="0" name=""/>
        <dsp:cNvSpPr/>
      </dsp:nvSpPr>
      <dsp:spPr>
        <a:xfrm>
          <a:off x="117355" y="1251927"/>
          <a:ext cx="908072" cy="908072"/>
        </a:xfrm>
        <a:prstGeom prst="pie">
          <a:avLst>
            <a:gd name="adj1" fmla="val 126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FF522F-5E3C-4B71-8D63-23BB592114E1}">
      <dsp:nvSpPr>
        <dsp:cNvPr id="0" name=""/>
        <dsp:cNvSpPr/>
      </dsp:nvSpPr>
      <dsp:spPr>
        <a:xfrm rot="16200000">
          <a:off x="-1301506" y="3692371"/>
          <a:ext cx="3291761" cy="6810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400" kern="1200" dirty="0">
              <a:solidFill>
                <a:schemeClr val="bg1">
                  <a:lumMod val="75000"/>
                </a:schemeClr>
              </a:solidFill>
            </a:rPr>
            <a:t>КЛИЕНТ</a:t>
          </a:r>
        </a:p>
      </dsp:txBody>
      <dsp:txXfrm>
        <a:off x="-1301506" y="3692371"/>
        <a:ext cx="3291761" cy="681054"/>
      </dsp:txXfrm>
    </dsp:sp>
    <dsp:sp modelId="{235E091C-F773-4104-95AB-33B07238596B}">
      <dsp:nvSpPr>
        <dsp:cNvPr id="0" name=""/>
        <dsp:cNvSpPr/>
      </dsp:nvSpPr>
      <dsp:spPr>
        <a:xfrm>
          <a:off x="798410" y="1138418"/>
          <a:ext cx="2270180" cy="4540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</a:t>
          </a:r>
          <a:r>
            <a:rPr lang="en-US" sz="2700" b="1" kern="1200" dirty="0"/>
            <a:t>KPI</a:t>
          </a:r>
          <a:endParaRPr lang="ru-RU" sz="2700" b="1" kern="1200" dirty="0"/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СКИДКИ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КОММИТЫ</a:t>
          </a:r>
        </a:p>
      </dsp:txBody>
      <dsp:txXfrm>
        <a:off x="798410" y="1138418"/>
        <a:ext cx="2270180" cy="4540360"/>
      </dsp:txXfrm>
    </dsp:sp>
    <dsp:sp modelId="{CF7FAB8F-6510-44AF-921E-0E198E55340C}">
      <dsp:nvSpPr>
        <dsp:cNvPr id="0" name=""/>
        <dsp:cNvSpPr/>
      </dsp:nvSpPr>
      <dsp:spPr>
        <a:xfrm>
          <a:off x="3395880" y="1138418"/>
          <a:ext cx="1135090" cy="1135090"/>
        </a:xfrm>
        <a:prstGeom prst="chord">
          <a:avLst>
            <a:gd name="adj1" fmla="val 4800000"/>
            <a:gd name="adj2" fmla="val 1680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346E08-BB0D-446D-A163-B170B630FB15}">
      <dsp:nvSpPr>
        <dsp:cNvPr id="0" name=""/>
        <dsp:cNvSpPr/>
      </dsp:nvSpPr>
      <dsp:spPr>
        <a:xfrm>
          <a:off x="3509389" y="1251927"/>
          <a:ext cx="908072" cy="908072"/>
        </a:xfrm>
        <a:prstGeom prst="pie">
          <a:avLst>
            <a:gd name="adj1" fmla="val 9000000"/>
            <a:gd name="adj2" fmla="val 16200000"/>
          </a:avLst>
        </a:prstGeom>
        <a:solidFill>
          <a:schemeClr val="accent2">
            <a:hueOff val="-9182260"/>
            <a:satOff val="-34426"/>
            <a:lumOff val="15588"/>
            <a:alphaOff val="0"/>
          </a:schemeClr>
        </a:solidFill>
        <a:ln w="26425" cap="flat" cmpd="sng" algn="ctr">
          <a:solidFill>
            <a:schemeClr val="accent2">
              <a:hueOff val="-9182260"/>
              <a:satOff val="-34426"/>
              <a:lumOff val="1558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AAF4B9-E5BA-49BA-AC03-E360D38826EA}">
      <dsp:nvSpPr>
        <dsp:cNvPr id="0" name=""/>
        <dsp:cNvSpPr/>
      </dsp:nvSpPr>
      <dsp:spPr>
        <a:xfrm rot="16200000">
          <a:off x="2090526" y="3692371"/>
          <a:ext cx="3291761" cy="6810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400" kern="1200" dirty="0">
              <a:solidFill>
                <a:schemeClr val="bg1">
                  <a:lumMod val="75000"/>
                </a:schemeClr>
              </a:solidFill>
            </a:rPr>
            <a:t>СЕЛЛЕР</a:t>
          </a:r>
        </a:p>
      </dsp:txBody>
      <dsp:txXfrm>
        <a:off x="2090526" y="3692371"/>
        <a:ext cx="3291761" cy="681054"/>
      </dsp:txXfrm>
    </dsp:sp>
    <dsp:sp modelId="{5CEC3A95-AA0F-4B06-BF69-FAB66CBCF960}">
      <dsp:nvSpPr>
        <dsp:cNvPr id="0" name=""/>
        <dsp:cNvSpPr/>
      </dsp:nvSpPr>
      <dsp:spPr>
        <a:xfrm>
          <a:off x="4190443" y="1138418"/>
          <a:ext cx="2270180" cy="4540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РАСЧЕТЫ 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ТТ*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ru-RU" sz="2700" b="1" kern="1200" dirty="0"/>
            <a:t>-ПИСЬМО БАИНГЧЕК**</a:t>
          </a:r>
        </a:p>
      </dsp:txBody>
      <dsp:txXfrm>
        <a:off x="4190443" y="1138418"/>
        <a:ext cx="2270180" cy="4540360"/>
      </dsp:txXfrm>
    </dsp:sp>
    <dsp:sp modelId="{F7068428-FA4F-4E61-94A9-AE52ADFEA857}">
      <dsp:nvSpPr>
        <dsp:cNvPr id="0" name=""/>
        <dsp:cNvSpPr/>
      </dsp:nvSpPr>
      <dsp:spPr>
        <a:xfrm>
          <a:off x="6787913" y="1138418"/>
          <a:ext cx="1135090" cy="1135090"/>
        </a:xfrm>
        <a:prstGeom prst="chord">
          <a:avLst>
            <a:gd name="adj1" fmla="val 4800000"/>
            <a:gd name="adj2" fmla="val 1680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E4D178-FD8B-408E-B1FC-2239D2472EAF}">
      <dsp:nvSpPr>
        <dsp:cNvPr id="0" name=""/>
        <dsp:cNvSpPr/>
      </dsp:nvSpPr>
      <dsp:spPr>
        <a:xfrm>
          <a:off x="6901422" y="1251927"/>
          <a:ext cx="908072" cy="908072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-18364519"/>
            <a:satOff val="-68852"/>
            <a:lumOff val="31176"/>
            <a:alphaOff val="0"/>
          </a:schemeClr>
        </a:solidFill>
        <a:ln w="26425" cap="flat" cmpd="sng" algn="ctr">
          <a:solidFill>
            <a:schemeClr val="accent2">
              <a:hueOff val="-18364519"/>
              <a:satOff val="-68852"/>
              <a:lumOff val="3117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25E8FA-4457-4DA4-AFC1-D6F1FBC3AA8F}">
      <dsp:nvSpPr>
        <dsp:cNvPr id="0" name=""/>
        <dsp:cNvSpPr/>
      </dsp:nvSpPr>
      <dsp:spPr>
        <a:xfrm rot="16200000">
          <a:off x="5482559" y="3692371"/>
          <a:ext cx="3291761" cy="6810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400" kern="1200" dirty="0">
              <a:solidFill>
                <a:schemeClr val="bg1">
                  <a:lumMod val="75000"/>
                </a:schemeClr>
              </a:solidFill>
            </a:rPr>
            <a:t>АГЕНТСТВО</a:t>
          </a:r>
        </a:p>
      </dsp:txBody>
      <dsp:txXfrm>
        <a:off x="5482559" y="3692371"/>
        <a:ext cx="3291761" cy="681054"/>
      </dsp:txXfrm>
    </dsp:sp>
    <dsp:sp modelId="{92F2C7D5-9B25-4B9E-98C0-D2395B47FE02}">
      <dsp:nvSpPr>
        <dsp:cNvPr id="0" name=""/>
        <dsp:cNvSpPr/>
      </dsp:nvSpPr>
      <dsp:spPr>
        <a:xfrm>
          <a:off x="7582476" y="1138418"/>
          <a:ext cx="3976379" cy="4540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ЭКСПЕРТИЗА***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КОММИТЫ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ИТОРИЯ ПРОЕКТА</a:t>
          </a:r>
        </a:p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/>
            <a:t>-МОТИВАЦИЯ МП****</a:t>
          </a:r>
        </a:p>
      </dsp:txBody>
      <dsp:txXfrm>
        <a:off x="7582476" y="1138418"/>
        <a:ext cx="3976379" cy="45403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D775E1-6D84-44BA-AC0E-BFB8FEC6BF56}">
      <dsp:nvSpPr>
        <dsp:cNvPr id="0" name=""/>
        <dsp:cNvSpPr/>
      </dsp:nvSpPr>
      <dsp:spPr>
        <a:xfrm>
          <a:off x="2903753" y="718706"/>
          <a:ext cx="1962945" cy="6468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/>
            <a:t>Выбираем позиции</a:t>
          </a:r>
        </a:p>
      </dsp:txBody>
      <dsp:txXfrm>
        <a:off x="2903753" y="718706"/>
        <a:ext cx="1962945" cy="646879"/>
      </dsp:txXfrm>
    </dsp:sp>
    <dsp:sp modelId="{7F75E68E-DB16-4058-81E5-34F937A10594}">
      <dsp:nvSpPr>
        <dsp:cNvPr id="0" name=""/>
        <dsp:cNvSpPr/>
      </dsp:nvSpPr>
      <dsp:spPr>
        <a:xfrm>
          <a:off x="2901523" y="521965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2C0178B-4307-4D67-BF23-427F5BD9FD57}">
      <dsp:nvSpPr>
        <dsp:cNvPr id="0" name=""/>
        <dsp:cNvSpPr/>
      </dsp:nvSpPr>
      <dsp:spPr>
        <a:xfrm>
          <a:off x="3010823" y="303364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7A75913-8E7F-4EB9-AB36-1A7B5306CD8F}">
      <dsp:nvSpPr>
        <dsp:cNvPr id="0" name=""/>
        <dsp:cNvSpPr/>
      </dsp:nvSpPr>
      <dsp:spPr>
        <a:xfrm>
          <a:off x="3273144" y="347084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7DFA952-DB38-4BC8-A28E-18F55B4688BE}">
      <dsp:nvSpPr>
        <dsp:cNvPr id="0" name=""/>
        <dsp:cNvSpPr/>
      </dsp:nvSpPr>
      <dsp:spPr>
        <a:xfrm>
          <a:off x="3491745" y="106624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5DBF157-7ECD-4B27-928E-EF48FD8C0E74}">
      <dsp:nvSpPr>
        <dsp:cNvPr id="0" name=""/>
        <dsp:cNvSpPr/>
      </dsp:nvSpPr>
      <dsp:spPr>
        <a:xfrm>
          <a:off x="3775925" y="19183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515B4CF-0CFF-4DF1-B4DE-B25A602324A9}">
      <dsp:nvSpPr>
        <dsp:cNvPr id="0" name=""/>
        <dsp:cNvSpPr/>
      </dsp:nvSpPr>
      <dsp:spPr>
        <a:xfrm>
          <a:off x="4125687" y="172204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5E6749D-D459-4BD9-BD6C-CF14BB4226AC}">
      <dsp:nvSpPr>
        <dsp:cNvPr id="0" name=""/>
        <dsp:cNvSpPr/>
      </dsp:nvSpPr>
      <dsp:spPr>
        <a:xfrm>
          <a:off x="4344287" y="281504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88C1400-0719-4E55-A6C6-47C8C5033C7B}">
      <dsp:nvSpPr>
        <dsp:cNvPr id="0" name=""/>
        <dsp:cNvSpPr/>
      </dsp:nvSpPr>
      <dsp:spPr>
        <a:xfrm>
          <a:off x="4650328" y="521965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769B90C-E8E5-4B82-89AA-42633BADFF11}">
      <dsp:nvSpPr>
        <dsp:cNvPr id="0" name=""/>
        <dsp:cNvSpPr/>
      </dsp:nvSpPr>
      <dsp:spPr>
        <a:xfrm>
          <a:off x="4781489" y="762426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79CBB7D-601D-47B2-BBA3-0F9592232989}">
      <dsp:nvSpPr>
        <dsp:cNvPr id="0" name=""/>
        <dsp:cNvSpPr/>
      </dsp:nvSpPr>
      <dsp:spPr>
        <a:xfrm>
          <a:off x="3644765" y="303364"/>
          <a:ext cx="401511" cy="401511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FFC8EE0-9F11-4925-A9C7-18893B9774E9}">
      <dsp:nvSpPr>
        <dsp:cNvPr id="0" name=""/>
        <dsp:cNvSpPr/>
      </dsp:nvSpPr>
      <dsp:spPr>
        <a:xfrm>
          <a:off x="2792222" y="1134047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AB0E528-F81C-4289-9C5C-DA58625442FC}">
      <dsp:nvSpPr>
        <dsp:cNvPr id="0" name=""/>
        <dsp:cNvSpPr/>
      </dsp:nvSpPr>
      <dsp:spPr>
        <a:xfrm>
          <a:off x="2923383" y="1330788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8CB2E89-14B4-47FC-A9C6-C436CB56E5BB}">
      <dsp:nvSpPr>
        <dsp:cNvPr id="0" name=""/>
        <dsp:cNvSpPr/>
      </dsp:nvSpPr>
      <dsp:spPr>
        <a:xfrm>
          <a:off x="3251284" y="1505668"/>
          <a:ext cx="356899" cy="356899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24CC721-DD2C-4F63-9DD1-53AF992C8DF9}">
      <dsp:nvSpPr>
        <dsp:cNvPr id="0" name=""/>
        <dsp:cNvSpPr/>
      </dsp:nvSpPr>
      <dsp:spPr>
        <a:xfrm>
          <a:off x="3710345" y="1789849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1F273A2-72E0-4FD0-9F55-90736CE3743C}">
      <dsp:nvSpPr>
        <dsp:cNvPr id="0" name=""/>
        <dsp:cNvSpPr/>
      </dsp:nvSpPr>
      <dsp:spPr>
        <a:xfrm>
          <a:off x="3797786" y="1505668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A199C50-E55E-49A8-9B9F-EA865301CB16}">
      <dsp:nvSpPr>
        <dsp:cNvPr id="0" name=""/>
        <dsp:cNvSpPr/>
      </dsp:nvSpPr>
      <dsp:spPr>
        <a:xfrm>
          <a:off x="4016386" y="1811709"/>
          <a:ext cx="156143" cy="156143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F8EF821-94A3-4A5C-AB69-BBBB2E3B4527}">
      <dsp:nvSpPr>
        <dsp:cNvPr id="0" name=""/>
        <dsp:cNvSpPr/>
      </dsp:nvSpPr>
      <dsp:spPr>
        <a:xfrm>
          <a:off x="4213127" y="1461948"/>
          <a:ext cx="356899" cy="356899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3DEE82D-F96D-44AC-A198-BD51CCA1AB3B}">
      <dsp:nvSpPr>
        <dsp:cNvPr id="0" name=""/>
        <dsp:cNvSpPr/>
      </dsp:nvSpPr>
      <dsp:spPr>
        <a:xfrm>
          <a:off x="4694049" y="1374508"/>
          <a:ext cx="245368" cy="245368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AB533B6-26EB-4BB6-A5C1-43C4FAD60219}">
      <dsp:nvSpPr>
        <dsp:cNvPr id="0" name=""/>
        <dsp:cNvSpPr/>
      </dsp:nvSpPr>
      <dsp:spPr>
        <a:xfrm>
          <a:off x="4939417" y="346721"/>
          <a:ext cx="720611" cy="1375725"/>
        </a:xfrm>
        <a:prstGeom prst="chevron">
          <a:avLst>
            <a:gd name="adj" fmla="val 6231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B90CA37-93B8-4B58-A551-D6DE44CDB119}">
      <dsp:nvSpPr>
        <dsp:cNvPr id="0" name=""/>
        <dsp:cNvSpPr/>
      </dsp:nvSpPr>
      <dsp:spPr>
        <a:xfrm>
          <a:off x="5529008" y="346721"/>
          <a:ext cx="720611" cy="1375725"/>
        </a:xfrm>
        <a:prstGeom prst="chevron">
          <a:avLst>
            <a:gd name="adj" fmla="val 6231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2DF6030-3335-4936-B99B-938232C23ECA}">
      <dsp:nvSpPr>
        <dsp:cNvPr id="0" name=""/>
        <dsp:cNvSpPr/>
      </dsp:nvSpPr>
      <dsp:spPr>
        <a:xfrm>
          <a:off x="6249619" y="233028"/>
          <a:ext cx="3112056" cy="1670508"/>
        </a:xfrm>
        <a:prstGeom prst="ellipse">
          <a:avLst/>
        </a:prstGeom>
        <a:solidFill>
          <a:srgbClr val="CCFFCC"/>
        </a:solidFill>
        <a:ln w="444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1" kern="1200" dirty="0">
              <a:solidFill>
                <a:schemeClr val="bg1">
                  <a:lumMod val="50000"/>
                </a:schemeClr>
              </a:solidFill>
            </a:rPr>
            <a:t>ПЛАН ГОТОВ</a:t>
          </a:r>
        </a:p>
      </dsp:txBody>
      <dsp:txXfrm>
        <a:off x="6705369" y="477668"/>
        <a:ext cx="2200556" cy="118122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3E3ECA-BB4D-4483-B1C6-24793765EB15}">
      <dsp:nvSpPr>
        <dsp:cNvPr id="0" name=""/>
        <dsp:cNvSpPr/>
      </dsp:nvSpPr>
      <dsp:spPr>
        <a:xfrm>
          <a:off x="0" y="909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0"/>
                <a:satOff val="0"/>
                <a:lumOff val="0"/>
                <a:alphaOff val="0"/>
                <a:tint val="48000"/>
                <a:satMod val="15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BDFEA9F-0AA8-46BE-99AD-CEFFB9495F41}">
      <dsp:nvSpPr>
        <dsp:cNvPr id="0" name=""/>
        <dsp:cNvSpPr/>
      </dsp:nvSpPr>
      <dsp:spPr>
        <a:xfrm>
          <a:off x="0" y="909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ТТ</a:t>
          </a:r>
        </a:p>
      </dsp:txBody>
      <dsp:txXfrm>
        <a:off x="0" y="909"/>
        <a:ext cx="17261152" cy="1490439"/>
      </dsp:txXfrm>
    </dsp:sp>
    <dsp:sp modelId="{2D11757B-DD7A-4286-ADC3-B4E1A175A970}">
      <dsp:nvSpPr>
        <dsp:cNvPr id="0" name=""/>
        <dsp:cNvSpPr/>
      </dsp:nvSpPr>
      <dsp:spPr>
        <a:xfrm>
          <a:off x="0" y="1491349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4545105"/>
                <a:satOff val="10236"/>
                <a:lumOff val="4019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4545105"/>
                <a:satOff val="10236"/>
                <a:lumOff val="4019"/>
                <a:alphaOff val="0"/>
                <a:tint val="48000"/>
                <a:satMod val="150000"/>
              </a:schemeClr>
            </a:gs>
            <a:gs pos="100000">
              <a:schemeClr val="accent4">
                <a:hueOff val="4545105"/>
                <a:satOff val="10236"/>
                <a:lumOff val="4019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4545105"/>
              <a:satOff val="10236"/>
              <a:lumOff val="4019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B716FAC-49F7-4855-BA4B-9DB849DF8A83}">
      <dsp:nvSpPr>
        <dsp:cNvPr id="0" name=""/>
        <dsp:cNvSpPr/>
      </dsp:nvSpPr>
      <dsp:spPr>
        <a:xfrm>
          <a:off x="0" y="1491349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ССЫЛКИ</a:t>
          </a:r>
        </a:p>
      </dsp:txBody>
      <dsp:txXfrm>
        <a:off x="0" y="1491349"/>
        <a:ext cx="17261152" cy="1490439"/>
      </dsp:txXfrm>
    </dsp:sp>
    <dsp:sp modelId="{2E090597-9A1D-4DEB-9983-AE519065C4EB}">
      <dsp:nvSpPr>
        <dsp:cNvPr id="0" name=""/>
        <dsp:cNvSpPr/>
      </dsp:nvSpPr>
      <dsp:spPr>
        <a:xfrm>
          <a:off x="0" y="2981789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9090211"/>
                <a:satOff val="20472"/>
                <a:lumOff val="8039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9090211"/>
                <a:satOff val="20472"/>
                <a:lumOff val="8039"/>
                <a:alphaOff val="0"/>
                <a:tint val="48000"/>
                <a:satMod val="150000"/>
              </a:schemeClr>
            </a:gs>
            <a:gs pos="100000">
              <a:schemeClr val="accent4">
                <a:hueOff val="9090211"/>
                <a:satOff val="20472"/>
                <a:lumOff val="8039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9090211"/>
              <a:satOff val="20472"/>
              <a:lumOff val="8039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1AA1836-9397-4439-9FF6-E67A983DB256}">
      <dsp:nvSpPr>
        <dsp:cNvPr id="0" name=""/>
        <dsp:cNvSpPr/>
      </dsp:nvSpPr>
      <dsp:spPr>
        <a:xfrm>
          <a:off x="0" y="2981789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МАТЕРИАЛЫ</a:t>
          </a:r>
        </a:p>
      </dsp:txBody>
      <dsp:txXfrm>
        <a:off x="0" y="2981789"/>
        <a:ext cx="17261152" cy="1490439"/>
      </dsp:txXfrm>
    </dsp:sp>
    <dsp:sp modelId="{E08187A4-8A56-42B2-A8C3-BDF498297FFC}">
      <dsp:nvSpPr>
        <dsp:cNvPr id="0" name=""/>
        <dsp:cNvSpPr/>
      </dsp:nvSpPr>
      <dsp:spPr>
        <a:xfrm>
          <a:off x="0" y="4472228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13635316"/>
                <a:satOff val="30709"/>
                <a:lumOff val="12058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13635316"/>
                <a:satOff val="30709"/>
                <a:lumOff val="12058"/>
                <a:alphaOff val="0"/>
                <a:tint val="48000"/>
                <a:satMod val="150000"/>
              </a:schemeClr>
            </a:gs>
            <a:gs pos="100000">
              <a:schemeClr val="accent4">
                <a:hueOff val="13635316"/>
                <a:satOff val="30709"/>
                <a:lumOff val="12058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13635316"/>
              <a:satOff val="30709"/>
              <a:lumOff val="1205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64C23AA-AC95-4B07-B538-6A552C344042}">
      <dsp:nvSpPr>
        <dsp:cNvPr id="0" name=""/>
        <dsp:cNvSpPr/>
      </dsp:nvSpPr>
      <dsp:spPr>
        <a:xfrm>
          <a:off x="0" y="4472228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САЙТ</a:t>
          </a:r>
        </a:p>
      </dsp:txBody>
      <dsp:txXfrm>
        <a:off x="0" y="4472228"/>
        <a:ext cx="17261152" cy="1490439"/>
      </dsp:txXfrm>
    </dsp:sp>
    <dsp:sp modelId="{B06D20B3-D146-4756-B59F-F5E1C821FF5C}">
      <dsp:nvSpPr>
        <dsp:cNvPr id="0" name=""/>
        <dsp:cNvSpPr/>
      </dsp:nvSpPr>
      <dsp:spPr>
        <a:xfrm>
          <a:off x="0" y="5962668"/>
          <a:ext cx="17261152" cy="0"/>
        </a:xfrm>
        <a:prstGeom prst="line">
          <a:avLst/>
        </a:prstGeom>
        <a:gradFill rotWithShape="0">
          <a:gsLst>
            <a:gs pos="0">
              <a:schemeClr val="accent4">
                <a:hueOff val="18180421"/>
                <a:satOff val="40945"/>
                <a:lumOff val="16078"/>
                <a:alphaOff val="0"/>
                <a:tint val="50000"/>
                <a:shade val="86000"/>
                <a:satMod val="140000"/>
              </a:schemeClr>
            </a:gs>
            <a:gs pos="45000">
              <a:schemeClr val="accent4">
                <a:hueOff val="18180421"/>
                <a:satOff val="40945"/>
                <a:lumOff val="16078"/>
                <a:alphaOff val="0"/>
                <a:tint val="48000"/>
                <a:satMod val="150000"/>
              </a:schemeClr>
            </a:gs>
            <a:gs pos="100000">
              <a:schemeClr val="accent4">
                <a:hueOff val="18180421"/>
                <a:satOff val="40945"/>
                <a:lumOff val="16078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4">
              <a:hueOff val="18180421"/>
              <a:satOff val="40945"/>
              <a:lumOff val="1607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922DF97-8013-4683-A840-385C57BDD88B}">
      <dsp:nvSpPr>
        <dsp:cNvPr id="0" name=""/>
        <dsp:cNvSpPr/>
      </dsp:nvSpPr>
      <dsp:spPr>
        <a:xfrm>
          <a:off x="0" y="5962668"/>
          <a:ext cx="17261152" cy="1490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6500" kern="1200" dirty="0"/>
            <a:t>СРЕДА</a:t>
          </a:r>
        </a:p>
      </dsp:txBody>
      <dsp:txXfrm>
        <a:off x="0" y="5962668"/>
        <a:ext cx="17261152" cy="149043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4A1A25-4F3B-42FB-A13E-22DE12C8AC45}">
      <dsp:nvSpPr>
        <dsp:cNvPr id="0" name=""/>
        <dsp:cNvSpPr/>
      </dsp:nvSpPr>
      <dsp:spPr>
        <a:xfrm>
          <a:off x="0" y="0"/>
          <a:ext cx="6771968" cy="0"/>
        </a:xfrm>
        <a:prstGeom prst="lin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C29AAB-A07B-430E-814E-15AA48A69AD1}">
      <dsp:nvSpPr>
        <dsp:cNvPr id="0" name=""/>
        <dsp:cNvSpPr/>
      </dsp:nvSpPr>
      <dsp:spPr>
        <a:xfrm>
          <a:off x="0" y="0"/>
          <a:ext cx="1354393" cy="5381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Название клиента</a:t>
          </a:r>
          <a:endParaRPr lang="ru-RU" sz="1600" kern="1200" dirty="0"/>
        </a:p>
      </dsp:txBody>
      <dsp:txXfrm>
        <a:off x="0" y="0"/>
        <a:ext cx="1354393" cy="5381625"/>
      </dsp:txXfrm>
    </dsp:sp>
    <dsp:sp modelId="{0BA41942-931C-4365-B029-633845481D3D}">
      <dsp:nvSpPr>
        <dsp:cNvPr id="0" name=""/>
        <dsp:cNvSpPr/>
      </dsp:nvSpPr>
      <dsp:spPr>
        <a:xfrm>
          <a:off x="1455973" y="50715"/>
          <a:ext cx="5315994" cy="1014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Название РК</a:t>
          </a:r>
          <a:endParaRPr lang="ru-RU" sz="1600" kern="1200" dirty="0"/>
        </a:p>
      </dsp:txBody>
      <dsp:txXfrm>
        <a:off x="1455973" y="50715"/>
        <a:ext cx="5315994" cy="1014310"/>
      </dsp:txXfrm>
    </dsp:sp>
    <dsp:sp modelId="{868D8A03-E459-446E-8990-6F0C4DF29114}">
      <dsp:nvSpPr>
        <dsp:cNvPr id="0" name=""/>
        <dsp:cNvSpPr/>
      </dsp:nvSpPr>
      <dsp:spPr>
        <a:xfrm>
          <a:off x="1354393" y="1065025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0115F0-A25F-4EDF-87FA-91914F603EED}">
      <dsp:nvSpPr>
        <dsp:cNvPr id="0" name=""/>
        <dsp:cNvSpPr/>
      </dsp:nvSpPr>
      <dsp:spPr>
        <a:xfrm>
          <a:off x="1455973" y="1115741"/>
          <a:ext cx="5315994" cy="1014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Бриф (файл)</a:t>
          </a:r>
          <a:endParaRPr lang="ru-RU" sz="1600" kern="1200" dirty="0"/>
        </a:p>
      </dsp:txBody>
      <dsp:txXfrm>
        <a:off x="1455973" y="1115741"/>
        <a:ext cx="5315994" cy="1014310"/>
      </dsp:txXfrm>
    </dsp:sp>
    <dsp:sp modelId="{8B98E3CE-57C7-4387-9974-F33C0F653AD4}">
      <dsp:nvSpPr>
        <dsp:cNvPr id="0" name=""/>
        <dsp:cNvSpPr/>
      </dsp:nvSpPr>
      <dsp:spPr>
        <a:xfrm>
          <a:off x="1354393" y="2130051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2624DF-598D-49DF-97E7-A1CCD78F668B}">
      <dsp:nvSpPr>
        <dsp:cNvPr id="0" name=""/>
        <dsp:cNvSpPr/>
      </dsp:nvSpPr>
      <dsp:spPr>
        <a:xfrm>
          <a:off x="1455973" y="2180766"/>
          <a:ext cx="5315994" cy="1014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Медиаплан (файл)</a:t>
          </a:r>
        </a:p>
      </dsp:txBody>
      <dsp:txXfrm>
        <a:off x="1455973" y="2180766"/>
        <a:ext cx="5315994" cy="1014310"/>
      </dsp:txXfrm>
    </dsp:sp>
    <dsp:sp modelId="{7D799D5A-F101-417F-96B3-1F141360D0C8}">
      <dsp:nvSpPr>
        <dsp:cNvPr id="0" name=""/>
        <dsp:cNvSpPr/>
      </dsp:nvSpPr>
      <dsp:spPr>
        <a:xfrm>
          <a:off x="1354393" y="3195077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C263E2-D1EA-4D30-9065-964990322363}">
      <dsp:nvSpPr>
        <dsp:cNvPr id="0" name=""/>
        <dsp:cNvSpPr/>
      </dsp:nvSpPr>
      <dsp:spPr>
        <a:xfrm>
          <a:off x="1455973" y="3245792"/>
          <a:ext cx="5315994" cy="1014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>
              <a:solidFill>
                <a:schemeClr val="tx1"/>
              </a:solidFill>
            </a:rPr>
            <a:t>Презентация (файл)</a:t>
          </a:r>
          <a:endParaRPr lang="ru-RU" sz="1600" kern="1200" dirty="0">
            <a:solidFill>
              <a:schemeClr val="tx1"/>
            </a:solidFill>
          </a:endParaRPr>
        </a:p>
      </dsp:txBody>
      <dsp:txXfrm>
        <a:off x="1455973" y="3245792"/>
        <a:ext cx="5315994" cy="1014310"/>
      </dsp:txXfrm>
    </dsp:sp>
    <dsp:sp modelId="{3DABD481-9FBF-425A-BCC8-731510C3C037}">
      <dsp:nvSpPr>
        <dsp:cNvPr id="0" name=""/>
        <dsp:cNvSpPr/>
      </dsp:nvSpPr>
      <dsp:spPr>
        <a:xfrm>
          <a:off x="1354393" y="4260102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0DD233-8CF5-4FB0-B791-7A57A76340EC}">
      <dsp:nvSpPr>
        <dsp:cNvPr id="0" name=""/>
        <dsp:cNvSpPr/>
      </dsp:nvSpPr>
      <dsp:spPr>
        <a:xfrm>
          <a:off x="1455973" y="4310818"/>
          <a:ext cx="5315994" cy="1014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Комментарии</a:t>
          </a:r>
        </a:p>
      </dsp:txBody>
      <dsp:txXfrm>
        <a:off x="1455973" y="4310818"/>
        <a:ext cx="5315994" cy="1014310"/>
      </dsp:txXfrm>
    </dsp:sp>
    <dsp:sp modelId="{6FB732E5-730E-44AB-87F2-A627F8EF4E96}">
      <dsp:nvSpPr>
        <dsp:cNvPr id="0" name=""/>
        <dsp:cNvSpPr/>
      </dsp:nvSpPr>
      <dsp:spPr>
        <a:xfrm>
          <a:off x="1354393" y="5325128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4A1A25-4F3B-42FB-A13E-22DE12C8AC45}">
      <dsp:nvSpPr>
        <dsp:cNvPr id="0" name=""/>
        <dsp:cNvSpPr/>
      </dsp:nvSpPr>
      <dsp:spPr>
        <a:xfrm>
          <a:off x="0" y="0"/>
          <a:ext cx="6771968" cy="0"/>
        </a:xfrm>
        <a:prstGeom prst="lin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C29AAB-A07B-430E-814E-15AA48A69AD1}">
      <dsp:nvSpPr>
        <dsp:cNvPr id="0" name=""/>
        <dsp:cNvSpPr/>
      </dsp:nvSpPr>
      <dsp:spPr>
        <a:xfrm>
          <a:off x="0" y="0"/>
          <a:ext cx="1354393" cy="24679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Название клиента</a:t>
          </a:r>
          <a:endParaRPr lang="ru-RU" sz="1600" kern="1200" dirty="0"/>
        </a:p>
      </dsp:txBody>
      <dsp:txXfrm>
        <a:off x="0" y="0"/>
        <a:ext cx="1354393" cy="2467906"/>
      </dsp:txXfrm>
    </dsp:sp>
    <dsp:sp modelId="{0BA41942-931C-4365-B029-633845481D3D}">
      <dsp:nvSpPr>
        <dsp:cNvPr id="0" name=""/>
        <dsp:cNvSpPr/>
      </dsp:nvSpPr>
      <dsp:spPr>
        <a:xfrm>
          <a:off x="1455973" y="19431"/>
          <a:ext cx="5315994" cy="388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Название РК</a:t>
          </a:r>
          <a:endParaRPr lang="ru-RU" sz="1600" kern="1200" dirty="0"/>
        </a:p>
      </dsp:txBody>
      <dsp:txXfrm>
        <a:off x="1455973" y="19431"/>
        <a:ext cx="5315994" cy="388622"/>
      </dsp:txXfrm>
    </dsp:sp>
    <dsp:sp modelId="{868D8A03-E459-446E-8990-6F0C4DF29114}">
      <dsp:nvSpPr>
        <dsp:cNvPr id="0" name=""/>
        <dsp:cNvSpPr/>
      </dsp:nvSpPr>
      <dsp:spPr>
        <a:xfrm>
          <a:off x="1354393" y="408054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0115F0-A25F-4EDF-87FA-91914F603EED}">
      <dsp:nvSpPr>
        <dsp:cNvPr id="0" name=""/>
        <dsp:cNvSpPr/>
      </dsp:nvSpPr>
      <dsp:spPr>
        <a:xfrm>
          <a:off x="1455973" y="427485"/>
          <a:ext cx="5315994" cy="388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Медиаплан (файл)</a:t>
          </a:r>
          <a:endParaRPr lang="ru-RU" sz="1600" kern="1200" dirty="0"/>
        </a:p>
      </dsp:txBody>
      <dsp:txXfrm>
        <a:off x="1455973" y="427485"/>
        <a:ext cx="5315994" cy="388622"/>
      </dsp:txXfrm>
    </dsp:sp>
    <dsp:sp modelId="{8B98E3CE-57C7-4387-9974-F33C0F653AD4}">
      <dsp:nvSpPr>
        <dsp:cNvPr id="0" name=""/>
        <dsp:cNvSpPr/>
      </dsp:nvSpPr>
      <dsp:spPr>
        <a:xfrm>
          <a:off x="1354393" y="816108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2624DF-598D-49DF-97E7-A1CCD78F668B}">
      <dsp:nvSpPr>
        <dsp:cNvPr id="0" name=""/>
        <dsp:cNvSpPr/>
      </dsp:nvSpPr>
      <dsp:spPr>
        <a:xfrm>
          <a:off x="1455973" y="835539"/>
          <a:ext cx="5315994" cy="388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Доступы к </a:t>
          </a:r>
          <a:r>
            <a:rPr lang="en-US" sz="1600" kern="1200" dirty="0">
              <a:solidFill>
                <a:schemeClr val="tx1"/>
              </a:solidFill>
            </a:rPr>
            <a:t>GTM</a:t>
          </a:r>
          <a:r>
            <a:rPr lang="ru-RU" sz="1600" kern="1200" dirty="0">
              <a:solidFill>
                <a:schemeClr val="tx1"/>
              </a:solidFill>
            </a:rPr>
            <a:t> и т.п.</a:t>
          </a:r>
        </a:p>
      </dsp:txBody>
      <dsp:txXfrm>
        <a:off x="1455973" y="835539"/>
        <a:ext cx="5315994" cy="388622"/>
      </dsp:txXfrm>
    </dsp:sp>
    <dsp:sp modelId="{7D799D5A-F101-417F-96B3-1F141360D0C8}">
      <dsp:nvSpPr>
        <dsp:cNvPr id="0" name=""/>
        <dsp:cNvSpPr/>
      </dsp:nvSpPr>
      <dsp:spPr>
        <a:xfrm>
          <a:off x="1354393" y="1224162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C263E2-D1EA-4D30-9065-964990322363}">
      <dsp:nvSpPr>
        <dsp:cNvPr id="0" name=""/>
        <dsp:cNvSpPr/>
      </dsp:nvSpPr>
      <dsp:spPr>
        <a:xfrm>
          <a:off x="1455973" y="1243593"/>
          <a:ext cx="5315994" cy="388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Ссылка на сайт (посадочная) </a:t>
          </a:r>
          <a:r>
            <a:rPr lang="en-US" sz="1600" kern="1200" dirty="0">
              <a:solidFill>
                <a:schemeClr val="tx1"/>
              </a:solidFill>
            </a:rPr>
            <a:t>Utm </a:t>
          </a:r>
          <a:r>
            <a:rPr lang="ru-RU" sz="1600" kern="1200" dirty="0">
              <a:solidFill>
                <a:schemeClr val="tx1"/>
              </a:solidFill>
            </a:rPr>
            <a:t>(файл)</a:t>
          </a:r>
        </a:p>
      </dsp:txBody>
      <dsp:txXfrm>
        <a:off x="1455973" y="1243593"/>
        <a:ext cx="5315994" cy="388622"/>
      </dsp:txXfrm>
    </dsp:sp>
    <dsp:sp modelId="{3DABD481-9FBF-425A-BCC8-731510C3C037}">
      <dsp:nvSpPr>
        <dsp:cNvPr id="0" name=""/>
        <dsp:cNvSpPr/>
      </dsp:nvSpPr>
      <dsp:spPr>
        <a:xfrm>
          <a:off x="1354393" y="1632216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0DD233-8CF5-4FB0-B791-7A57A76340EC}">
      <dsp:nvSpPr>
        <dsp:cNvPr id="0" name=""/>
        <dsp:cNvSpPr/>
      </dsp:nvSpPr>
      <dsp:spPr>
        <a:xfrm>
          <a:off x="1455973" y="1651647"/>
          <a:ext cx="5315994" cy="388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Материалы (файлы)</a:t>
          </a:r>
        </a:p>
      </dsp:txBody>
      <dsp:txXfrm>
        <a:off x="1455973" y="1651647"/>
        <a:ext cx="5315994" cy="388622"/>
      </dsp:txXfrm>
    </dsp:sp>
    <dsp:sp modelId="{6FB732E5-730E-44AB-87F2-A627F8EF4E96}">
      <dsp:nvSpPr>
        <dsp:cNvPr id="0" name=""/>
        <dsp:cNvSpPr/>
      </dsp:nvSpPr>
      <dsp:spPr>
        <a:xfrm>
          <a:off x="1354393" y="2040270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1DCFC4-5473-4404-B0DE-5DFF5BDC802C}">
      <dsp:nvSpPr>
        <dsp:cNvPr id="0" name=""/>
        <dsp:cNvSpPr/>
      </dsp:nvSpPr>
      <dsp:spPr>
        <a:xfrm>
          <a:off x="1455973" y="2059701"/>
          <a:ext cx="5315994" cy="388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Статус запуска (списком) </a:t>
          </a:r>
        </a:p>
      </dsp:txBody>
      <dsp:txXfrm>
        <a:off x="1455973" y="2059701"/>
        <a:ext cx="5315994" cy="388622"/>
      </dsp:txXfrm>
    </dsp:sp>
    <dsp:sp modelId="{B7C27722-8834-4B8B-92A3-9B62389A9170}">
      <dsp:nvSpPr>
        <dsp:cNvPr id="0" name=""/>
        <dsp:cNvSpPr/>
      </dsp:nvSpPr>
      <dsp:spPr>
        <a:xfrm>
          <a:off x="1354393" y="2448324"/>
          <a:ext cx="541757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90DF8D-25D8-439A-A8E7-46A319272EB3}">
      <dsp:nvSpPr>
        <dsp:cNvPr id="0" name=""/>
        <dsp:cNvSpPr/>
      </dsp:nvSpPr>
      <dsp:spPr>
        <a:xfrm>
          <a:off x="2655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Клиент</a:t>
          </a:r>
        </a:p>
      </dsp:txBody>
      <dsp:txXfrm>
        <a:off x="17739" y="15084"/>
        <a:ext cx="2066516" cy="484834"/>
      </dsp:txXfrm>
    </dsp:sp>
    <dsp:sp modelId="{170BBF24-665E-4305-B1B3-73CB72AF1285}">
      <dsp:nvSpPr>
        <dsp:cNvPr id="0" name=""/>
        <dsp:cNvSpPr/>
      </dsp:nvSpPr>
      <dsp:spPr>
        <a:xfrm>
          <a:off x="2309008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/>
        </a:p>
      </dsp:txBody>
      <dsp:txXfrm>
        <a:off x="2309008" y="103000"/>
        <a:ext cx="311148" cy="309002"/>
      </dsp:txXfrm>
    </dsp:sp>
    <dsp:sp modelId="{80F42B50-0ABA-4044-8856-968A620AF24C}">
      <dsp:nvSpPr>
        <dsp:cNvPr id="0" name=""/>
        <dsp:cNvSpPr/>
      </dsp:nvSpPr>
      <dsp:spPr>
        <a:xfrm>
          <a:off x="2938014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Название РК</a:t>
          </a:r>
        </a:p>
      </dsp:txBody>
      <dsp:txXfrm>
        <a:off x="2953098" y="15084"/>
        <a:ext cx="2066516" cy="484834"/>
      </dsp:txXfrm>
    </dsp:sp>
    <dsp:sp modelId="{6E7541FA-B3BE-4F1B-B04A-46EF764F0B0F}">
      <dsp:nvSpPr>
        <dsp:cNvPr id="0" name=""/>
        <dsp:cNvSpPr/>
      </dsp:nvSpPr>
      <dsp:spPr>
        <a:xfrm>
          <a:off x="5244367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/>
        </a:p>
      </dsp:txBody>
      <dsp:txXfrm>
        <a:off x="5244367" y="103000"/>
        <a:ext cx="311148" cy="309002"/>
      </dsp:txXfrm>
    </dsp:sp>
    <dsp:sp modelId="{99296784-CB10-48BC-A26A-45A698EA109A}">
      <dsp:nvSpPr>
        <dsp:cNvPr id="0" name=""/>
        <dsp:cNvSpPr/>
      </dsp:nvSpPr>
      <dsp:spPr>
        <a:xfrm>
          <a:off x="5873372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Бюджет</a:t>
          </a:r>
        </a:p>
      </dsp:txBody>
      <dsp:txXfrm>
        <a:off x="5888456" y="15084"/>
        <a:ext cx="2066516" cy="484834"/>
      </dsp:txXfrm>
    </dsp:sp>
    <dsp:sp modelId="{04A0B140-E887-46AE-918B-D2EC3B58B8A6}">
      <dsp:nvSpPr>
        <dsp:cNvPr id="0" name=""/>
        <dsp:cNvSpPr/>
      </dsp:nvSpPr>
      <dsp:spPr>
        <a:xfrm>
          <a:off x="8179725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/>
        </a:p>
      </dsp:txBody>
      <dsp:txXfrm>
        <a:off x="8179725" y="103000"/>
        <a:ext cx="311148" cy="309002"/>
      </dsp:txXfrm>
    </dsp:sp>
    <dsp:sp modelId="{614649A1-B11A-48DD-BE7F-186079811D7B}">
      <dsp:nvSpPr>
        <dsp:cNvPr id="0" name=""/>
        <dsp:cNvSpPr/>
      </dsp:nvSpPr>
      <dsp:spPr>
        <a:xfrm>
          <a:off x="8808730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Период</a:t>
          </a:r>
        </a:p>
      </dsp:txBody>
      <dsp:txXfrm>
        <a:off x="8823814" y="15084"/>
        <a:ext cx="2066516" cy="484834"/>
      </dsp:txXfrm>
    </dsp:sp>
    <dsp:sp modelId="{96B8640D-4984-4959-95DB-D12A8B6FBF4F}">
      <dsp:nvSpPr>
        <dsp:cNvPr id="0" name=""/>
        <dsp:cNvSpPr/>
      </dsp:nvSpPr>
      <dsp:spPr>
        <a:xfrm>
          <a:off x="11115083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/>
        </a:p>
      </dsp:txBody>
      <dsp:txXfrm>
        <a:off x="11115083" y="103000"/>
        <a:ext cx="311148" cy="309002"/>
      </dsp:txXfrm>
    </dsp:sp>
    <dsp:sp modelId="{A3B31C88-AD9B-4920-9CA1-751711F84331}">
      <dsp:nvSpPr>
        <dsp:cNvPr id="0" name=""/>
        <dsp:cNvSpPr/>
      </dsp:nvSpPr>
      <dsp:spPr>
        <a:xfrm>
          <a:off x="11744088" y="0"/>
          <a:ext cx="2883612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Карточка проекта</a:t>
          </a:r>
        </a:p>
      </dsp:txBody>
      <dsp:txXfrm>
        <a:off x="11759172" y="15084"/>
        <a:ext cx="2853444" cy="48483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90DF8D-25D8-439A-A8E7-46A319272EB3}">
      <dsp:nvSpPr>
        <dsp:cNvPr id="0" name=""/>
        <dsp:cNvSpPr/>
      </dsp:nvSpPr>
      <dsp:spPr>
        <a:xfrm>
          <a:off x="2655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issan</a:t>
          </a:r>
          <a:endParaRPr lang="ru-RU" sz="1400" kern="1200" dirty="0"/>
        </a:p>
      </dsp:txBody>
      <dsp:txXfrm>
        <a:off x="17739" y="15084"/>
        <a:ext cx="2066516" cy="484834"/>
      </dsp:txXfrm>
    </dsp:sp>
    <dsp:sp modelId="{170BBF24-665E-4305-B1B3-73CB72AF1285}">
      <dsp:nvSpPr>
        <dsp:cNvPr id="0" name=""/>
        <dsp:cNvSpPr/>
      </dsp:nvSpPr>
      <dsp:spPr>
        <a:xfrm>
          <a:off x="2309008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2309008" y="103000"/>
        <a:ext cx="311148" cy="309002"/>
      </dsp:txXfrm>
    </dsp:sp>
    <dsp:sp modelId="{80F42B50-0ABA-4044-8856-968A620AF24C}">
      <dsp:nvSpPr>
        <dsp:cNvPr id="0" name=""/>
        <dsp:cNvSpPr/>
      </dsp:nvSpPr>
      <dsp:spPr>
        <a:xfrm>
          <a:off x="2938014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urano_may2021</a:t>
          </a:r>
          <a:endParaRPr lang="ru-RU" sz="1400" kern="1200" dirty="0"/>
        </a:p>
      </dsp:txBody>
      <dsp:txXfrm>
        <a:off x="2953098" y="15084"/>
        <a:ext cx="2066516" cy="484834"/>
      </dsp:txXfrm>
    </dsp:sp>
    <dsp:sp modelId="{6E7541FA-B3BE-4F1B-B04A-46EF764F0B0F}">
      <dsp:nvSpPr>
        <dsp:cNvPr id="0" name=""/>
        <dsp:cNvSpPr/>
      </dsp:nvSpPr>
      <dsp:spPr>
        <a:xfrm>
          <a:off x="5244367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5244367" y="103000"/>
        <a:ext cx="311148" cy="309002"/>
      </dsp:txXfrm>
    </dsp:sp>
    <dsp:sp modelId="{99296784-CB10-48BC-A26A-45A698EA109A}">
      <dsp:nvSpPr>
        <dsp:cNvPr id="0" name=""/>
        <dsp:cNvSpPr/>
      </dsp:nvSpPr>
      <dsp:spPr>
        <a:xfrm>
          <a:off x="5873372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3 000 000</a:t>
          </a:r>
          <a:r>
            <a:rPr lang="ru-RU" sz="1400" kern="1200" dirty="0"/>
            <a:t>р. С НДС и АК</a:t>
          </a:r>
        </a:p>
      </dsp:txBody>
      <dsp:txXfrm>
        <a:off x="5888456" y="15084"/>
        <a:ext cx="2066516" cy="484834"/>
      </dsp:txXfrm>
    </dsp:sp>
    <dsp:sp modelId="{04A0B140-E887-46AE-918B-D2EC3B58B8A6}">
      <dsp:nvSpPr>
        <dsp:cNvPr id="0" name=""/>
        <dsp:cNvSpPr/>
      </dsp:nvSpPr>
      <dsp:spPr>
        <a:xfrm>
          <a:off x="8179725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8179725" y="103000"/>
        <a:ext cx="311148" cy="309002"/>
      </dsp:txXfrm>
    </dsp:sp>
    <dsp:sp modelId="{614649A1-B11A-48DD-BE7F-186079811D7B}">
      <dsp:nvSpPr>
        <dsp:cNvPr id="0" name=""/>
        <dsp:cNvSpPr/>
      </dsp:nvSpPr>
      <dsp:spPr>
        <a:xfrm>
          <a:off x="8808730" y="0"/>
          <a:ext cx="2096684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ай 2021</a:t>
          </a:r>
        </a:p>
      </dsp:txBody>
      <dsp:txXfrm>
        <a:off x="8823814" y="15084"/>
        <a:ext cx="2066516" cy="484834"/>
      </dsp:txXfrm>
    </dsp:sp>
    <dsp:sp modelId="{96B8640D-4984-4959-95DB-D12A8B6FBF4F}">
      <dsp:nvSpPr>
        <dsp:cNvPr id="0" name=""/>
        <dsp:cNvSpPr/>
      </dsp:nvSpPr>
      <dsp:spPr>
        <a:xfrm>
          <a:off x="11115083" y="0"/>
          <a:ext cx="444497" cy="5150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kern="1200"/>
        </a:p>
      </dsp:txBody>
      <dsp:txXfrm>
        <a:off x="11115083" y="103000"/>
        <a:ext cx="311148" cy="309002"/>
      </dsp:txXfrm>
    </dsp:sp>
    <dsp:sp modelId="{A3B31C88-AD9B-4920-9CA1-751711F84331}">
      <dsp:nvSpPr>
        <dsp:cNvPr id="0" name=""/>
        <dsp:cNvSpPr/>
      </dsp:nvSpPr>
      <dsp:spPr>
        <a:xfrm>
          <a:off x="11744088" y="0"/>
          <a:ext cx="2883612" cy="5150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Карточка проекта</a:t>
          </a:r>
        </a:p>
      </dsp:txBody>
      <dsp:txXfrm>
        <a:off x="11759172" y="15084"/>
        <a:ext cx="2853444" cy="4848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PieProcess">
  <dgm:title val=""/>
  <dgm:desc val=""/>
  <dgm:catLst>
    <dgm:cat type="list" pri="8600"/>
    <dgm:cat type="process" pri="4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</dgm:alg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w" for="ch" forName="ParentComposite" refType="w" fact="0.5"/>
      <dgm:constr type="h" for="ch" forName="ParentComposite" refType="h"/>
      <dgm:constr type="w" for="ch" forName="negSibTrans" refType="h" refFor="ch" refForName="composite" fact="-0.075"/>
      <dgm:constr type="w" for="ch" forName="sibTrans" refType="w" refFor="ch" refForName="composite" fact="0.0425"/>
    </dgm:constrLst>
    <dgm:forEach name="nodesForEach" axis="ch" ptType="node" cnt="7">
      <dgm:layoutNode name="ParentComposite">
        <dgm:alg type="composite">
          <dgm:param type="ar" val="0.25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Parent" refType="w" fact="0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l" for="ch" forName="Chord" refType="w" fact="0"/>
              <dgm:constr type="t" for="ch" forName="Chord" refType="h" fact="0"/>
              <dgm:constr type="w" for="ch" forName="Chord" refType="w"/>
              <dgm:constr type="h" for="ch" forName="Chord" refType="h" fact="0.25"/>
              <dgm:constr type="l" for="ch" forName="Pie" refType="w" fact="0.1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if>
          <dgm:else name="Name6">
            <dgm:constrLst>
              <dgm:constr type="r" for="ch" forName="Parent" refType="w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r" for="ch" forName="Chord" refType="w"/>
              <dgm:constr type="t" for="ch" forName="Chord" refType="h" fact="0"/>
              <dgm:constr type="w" for="ch" forName="Chord" refType="w"/>
              <dgm:constr type="h" for="ch" forName="Chord" refType="h" fact="0.25"/>
              <dgm:constr type="r" for="ch" forName="Pie" refType="w" fact="0.9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else>
        </dgm:choose>
        <dgm:layoutNode name="Chord" styleLbl="bgShp">
          <dgm:alg type="sp"/>
          <dgm:choose name="Name7">
            <dgm:if name="Name8" func="var" arg="dir" op="equ" val="norm">
              <dgm:shape xmlns:r="http://schemas.openxmlformats.org/officeDocument/2006/relationships" type="chord" r:blip="">
                <dgm:adjLst>
                  <dgm:adj idx="1" val="80"/>
                  <dgm:adj idx="2" val="-80"/>
                </dgm:adjLst>
              </dgm:shape>
            </dgm:if>
            <dgm:else name="Name9">
              <dgm:shape xmlns:r="http://schemas.openxmlformats.org/officeDocument/2006/relationships" rot="180" type="chord" r:blip="">
                <dgm:adjLst>
                  <dgm:adj idx="1" val="80"/>
                  <dgm:adj idx="2" val="-80"/>
                </dgm:adjLst>
              </dgm:shape>
            </dgm:else>
          </dgm:choose>
          <dgm:presOf/>
        </dgm:layoutNode>
        <dgm:layoutNode name="Pie" styleLbl="alignNode1">
          <dgm:alg type="sp"/>
          <dgm:choose name="Name10">
            <dgm:if name="Name11" func="var" arg="dir" op="equ" val="norm">
              <dgm:choose name="Name12">
                <dgm:if name="Name13" axis="precedSib" ptType="node" func="cnt" op="equ" val="0">
                  <dgm:choose name="Name14">
                    <dgm:if name="Name1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1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17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if name="Name18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35"/>
                          <dgm:adj idx="2" val="-90"/>
                        </dgm:adjLst>
                      </dgm:shape>
                    </dgm:if>
                    <dgm:if name="Name19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26"/>
                          <dgm:adj idx="2" val="-90"/>
                        </dgm:adjLst>
                      </dgm:shape>
                    </dgm:if>
                    <dgm:if name="Name20" axis="followSib" ptType="node" func="cnt" op="equ" val="5">
                      <dgm:shape xmlns:r="http://schemas.openxmlformats.org/officeDocument/2006/relationships" type="pie" r:blip="">
                        <dgm:adjLst>
                          <dgm:adj idx="1" val="-120"/>
                          <dgm:adj idx="2" val="-90"/>
                        </dgm:adjLst>
                      </dgm:shape>
                    </dgm:if>
                    <dgm:else name="Name21">
                      <dgm:shape xmlns:r="http://schemas.openxmlformats.org/officeDocument/2006/relationships" type="pie" r:blip="">
                        <dgm:adjLst>
                          <dgm:adj idx="1" val="-115.7143"/>
                          <dgm:adj idx="2" val="-90"/>
                        </dgm:adjLst>
                      </dgm:shape>
                    </dgm:else>
                  </dgm:choose>
                </dgm:if>
                <dgm:if name="Name22" axis="precedSib" ptType="node" func="cnt" op="equ" val="1">
                  <dgm:choose name="Name23">
                    <dgm:if name="Name24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25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if name="Name26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27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62"/>
                          <dgm:adj idx="2" val="-90"/>
                        </dgm:adjLst>
                      </dgm:shape>
                    </dgm:if>
                    <dgm:if name="Name28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else name="Name29">
                      <dgm:shape xmlns:r="http://schemas.openxmlformats.org/officeDocument/2006/relationships" type="pie" r:blip="">
                        <dgm:adjLst>
                          <dgm:adj idx="1" val="-141.4286"/>
                          <dgm:adj idx="2" val="-90"/>
                        </dgm:adjLst>
                      </dgm:shape>
                    </dgm:else>
                  </dgm:choose>
                </dgm:if>
                <dgm:if name="Name30" axis="precedSib" ptType="node" func="cnt" op="equ" val="2">
                  <dgm:choose name="Name31">
                    <dgm:if name="Name32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33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35"/>
                          <dgm:adj idx="2" val="-90"/>
                        </dgm:adjLst>
                      </dgm:shape>
                    </dgm:if>
                    <dgm:if name="Name34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62"/>
                          <dgm:adj idx="2" val="-90"/>
                        </dgm:adjLst>
                      </dgm:shape>
                    </dgm:if>
                    <dgm:if name="Name35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else name="Name36">
                      <dgm:shape xmlns:r="http://schemas.openxmlformats.org/officeDocument/2006/relationships" type="pie" r:blip="">
                        <dgm:adjLst>
                          <dgm:adj idx="1" val="-167.1429"/>
                          <dgm:adj idx="2" val="-90"/>
                        </dgm:adjLst>
                      </dgm:shape>
                    </dgm:else>
                  </dgm:choose>
                </dgm:if>
                <dgm:if name="Name37" axis="precedSib" ptType="node" func="cnt" op="equ" val="3">
                  <dgm:choose name="Name38">
                    <dgm:if name="Name39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0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6"/>
                          <dgm:adj idx="2" val="-90"/>
                        </dgm:adjLst>
                      </dgm:shape>
                    </dgm:if>
                    <dgm:if name="Name41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else name="Name42">
                      <dgm:shape xmlns:r="http://schemas.openxmlformats.org/officeDocument/2006/relationships" type="pie" r:blip="">
                        <dgm:adjLst>
                          <dgm:adj idx="1" val="167.1429"/>
                          <dgm:adj idx="2" val="-90"/>
                        </dgm:adjLst>
                      </dgm:shape>
                    </dgm:else>
                  </dgm:choose>
                </dgm:if>
                <dgm:if name="Name43" axis="precedSib" ptType="node" func="cnt" op="equ" val="4">
                  <dgm:choose name="Name44">
                    <dgm:if name="Name4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0"/>
                          <dgm:adj idx="2" val="-90"/>
                        </dgm:adjLst>
                      </dgm:shape>
                    </dgm:if>
                    <dgm:else name="Name47">
                      <dgm:shape xmlns:r="http://schemas.openxmlformats.org/officeDocument/2006/relationships" type="pie" r:blip="">
                        <dgm:adjLst>
                          <dgm:adj idx="1" val="141.4286"/>
                          <dgm:adj idx="2" val="-90"/>
                        </dgm:adjLst>
                      </dgm:shape>
                    </dgm:else>
                  </dgm:choose>
                </dgm:if>
                <dgm:if name="Name48" axis="precedSib" ptType="node" func="cnt" op="equ" val="5">
                  <dgm:choose name="Name49">
                    <dgm:if name="Name50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51">
                      <dgm:shape xmlns:r="http://schemas.openxmlformats.org/officeDocument/2006/relationships" type="pie" r:blip="">
                        <dgm:adjLst>
                          <dgm:adj idx="1" val="115.7143"/>
                          <dgm:adj idx="2" val="-90"/>
                        </dgm:adjLst>
                      </dgm:shape>
                    </dgm:else>
                  </dgm:choose>
                </dgm:if>
                <dgm:else name="Name52">
                  <dgm:shape xmlns:r="http://schemas.openxmlformats.org/officeDocument/2006/relationships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if>
            <dgm:else name="Name53">
              <dgm:choose name="Name54">
                <dgm:if name="Name55" axis="precedSib" ptType="node" func="cnt" op="equ" val="0">
                  <dgm:choose name="Name56">
                    <dgm:if name="Name5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5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59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if name="Name60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35"/>
                        </dgm:adjLst>
                      </dgm:shape>
                    </dgm:if>
                    <dgm:if name="Name61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6"/>
                        </dgm:adjLst>
                      </dgm:shape>
                    </dgm:if>
                    <dgm:if name="Name62" axis="followSib" ptType="node" func="cnt" op="equ" val="5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0"/>
                        </dgm:adjLst>
                      </dgm:shape>
                    </dgm:if>
                    <dgm:else name="Name6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15.7143"/>
                        </dgm:adjLst>
                      </dgm:shape>
                    </dgm:else>
                  </dgm:choose>
                </dgm:if>
                <dgm:if name="Name64" axis="precedSib" ptType="node" func="cnt" op="equ" val="1">
                  <dgm:choose name="Name65">
                    <dgm:if name="Name66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67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if name="Name68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69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2"/>
                        </dgm:adjLst>
                      </dgm:shape>
                    </dgm:if>
                    <dgm:if name="Name70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else name="Name7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41.4286"/>
                        </dgm:adjLst>
                      </dgm:shape>
                    </dgm:else>
                  </dgm:choose>
                </dgm:if>
                <dgm:if name="Name72" axis="precedSib" ptType="node" func="cnt" op="equ" val="2">
                  <dgm:choose name="Name73">
                    <dgm:if name="Name74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75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35"/>
                        </dgm:adjLst>
                      </dgm:shape>
                    </dgm:if>
                    <dgm:if name="Name76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2"/>
                        </dgm:adjLst>
                      </dgm:shape>
                    </dgm:if>
                    <dgm:if name="Name77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else name="Name78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7.1429"/>
                        </dgm:adjLst>
                      </dgm:shape>
                    </dgm:else>
                  </dgm:choose>
                </dgm:if>
                <dgm:if name="Name79" axis="precedSib" ptType="node" func="cnt" op="equ" val="3">
                  <dgm:choose name="Name80">
                    <dgm:if name="Name81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2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6"/>
                        </dgm:adjLst>
                      </dgm:shape>
                    </dgm:if>
                    <dgm:if name="Name83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else name="Name8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7.1429"/>
                        </dgm:adjLst>
                      </dgm:shape>
                    </dgm:else>
                  </dgm:choose>
                </dgm:if>
                <dgm:if name="Name85" axis="precedSib" ptType="node" func="cnt" op="equ" val="4">
                  <dgm:choose name="Name86">
                    <dgm:if name="Name8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0"/>
                        </dgm:adjLst>
                      </dgm:shape>
                    </dgm:if>
                    <dgm:else name="Name89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41.4286"/>
                        </dgm:adjLst>
                      </dgm:shape>
                    </dgm:else>
                  </dgm:choose>
                </dgm:if>
                <dgm:if name="Name90" axis="precedSib" ptType="node" func="cnt" op="equ" val="5">
                  <dgm:choose name="Name91">
                    <dgm:if name="Name92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9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15.7143"/>
                        </dgm:adjLst>
                      </dgm:shape>
                    </dgm:else>
                  </dgm:choose>
                </dgm:if>
                <dgm:else name="Name94">
                  <dgm:shape xmlns:r="http://schemas.openxmlformats.org/officeDocument/2006/relationships" rot="180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else>
          </dgm:choose>
          <dgm:presOf/>
        </dgm:layoutNode>
        <dgm:layoutNode name="Parent" styleLbl="revTx">
          <dgm:varLst>
            <dgm:chMax val="1"/>
            <dgm:chPref val="1"/>
            <dgm:bulletEnabled val="1"/>
          </dgm:varLst>
          <dgm:choose name="Name95">
            <dgm:if name="Name96" func="var" arg="dir" op="equ" val="norm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autoTxRot" val="grav"/>
              </dgm:alg>
            </dgm:if>
            <dgm:else name="Name97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autoTxRot" val="grav"/>
              </dgm:alg>
            </dgm:else>
          </dgm:choose>
          <dgm:choose name="Name98">
            <dgm:if name="Name99" func="var" arg="dir" op="equ" val="norm">
              <dgm:shape xmlns:r="http://schemas.openxmlformats.org/officeDocument/2006/relationships" rot="-90" type="rect" r:blip="">
                <dgm:adjLst/>
              </dgm:shape>
            </dgm:if>
            <dgm:else name="Name100">
              <dgm:shape xmlns:r="http://schemas.openxmlformats.org/officeDocument/2006/relationships" rot="90" type="rect" r:blip="">
                <dgm:adjLst/>
              </dgm:shape>
            </dgm:else>
          </dgm:choose>
          <dgm:presOf axis="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</dgm:layoutNode>
      <dgm:choose name="Name101">
        <dgm:if name="Name102" axis="ch" ptType="node" func="cnt" op="gte" val="1">
          <dgm:forEach name="negSibTransForEach" axis="ch" ptType="sibTrans" hideLastTrans="0" cnt="1">
            <dgm:layoutNode name="neg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  <dgm:layoutNode name="composite">
            <dgm:alg type="composite">
              <dgm:param type="ar" val="0.5"/>
            </dgm:alg>
            <dgm:shape xmlns:r="http://schemas.openxmlformats.org/officeDocument/2006/relationships" r:blip="">
              <dgm:adjLst/>
            </dgm:shape>
            <dgm:choose name="Name103">
              <dgm:if name="Name104" func="var" arg="dir" op="equ" val="norm">
                <dgm:constrLst>
                  <dgm:constr type="l" for="ch" forName="Child" refType="w" fact="0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if>
              <dgm:else name="Name105">
                <dgm:constrLst>
                  <dgm:constr type="r" for="ch" forName="Child" refType="w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else>
            </dgm:choose>
            <dgm:ruleLst/>
            <dgm:layoutNode name="Child" styleLbl="revTx">
              <dgm:varLst>
                <dgm:chMax val="0"/>
                <dgm:chPref val="0"/>
                <dgm:bulletEnabled val="1"/>
              </dgm:varLst>
              <dgm:choose name="Name106">
                <dgm:if name="Name107" func="var" arg="dir" op="equ" val="norm">
                  <dgm:alg type="tx">
                    <dgm:param type="parTxLTRAlign" val="l"/>
                    <dgm:param type="parTxRTLAlign" val="r"/>
                    <dgm:param type="txAnchorVert" val="t"/>
                  </dgm:alg>
                </dgm:if>
                <dgm:else name="Name108">
                  <dgm:alg type="tx">
                    <dgm:param type="parTxLTRAlign" val="r"/>
                    <dgm:param type="parTxRTLAlign" val="l"/>
                    <dgm:param type="txAnchorVert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"/>
                <dgm:constr type="rMarg" refType="primFontSz" fact="0"/>
                <dgm:constr type="tMarg" refType="primFontSz" fact="0"/>
                <dgm:constr type="bMarg" refType="primFontSz" fact="0"/>
              </dgm:constrLst>
              <dgm:ruleLst>
                <dgm:rule type="primFontSz" val="5" fact="NaN" max="NaN"/>
              </dgm:ruleLst>
            </dgm:layoutNode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</dgm:if>
        <dgm:else name="Name109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RandomtoResultProcess">
  <dgm:title val=""/>
  <dgm:desc val=""/>
  <dgm:catLst>
    <dgm:cat type="process" pri="127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Name0">
    <dgm:varLst>
      <dgm:dir/>
      <dgm:animOne val="branch"/>
      <dgm:animLvl val="lvl"/>
    </dgm:varLst>
    <dgm:choose name="Name1">
      <dgm:if name="Name2" func="var" arg="dir" op="equ" val="norm">
        <dgm:alg type="lin">
          <dgm:param type="fallback" val="2D"/>
          <dgm:param type="nodeVertAlign" val="t"/>
        </dgm:alg>
      </dgm:if>
      <dgm:else name="Name3">
        <dgm:alg type="lin">
          <dgm:param type="fallback" val="2D"/>
          <dgm:param type="nodeVertAlign" val="t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userH" refType="h" fact="2"/>
      <dgm:constr type="w" for="ch" forName="chaos" refType="userH" fact="0.681"/>
      <dgm:constr type="h" for="ch" forName="chaos" refType="userH"/>
      <dgm:constr type="w" for="ch" forName="middle" refType="userH" fact="0.6"/>
      <dgm:constr type="h" for="ch" forName="middle" refType="userH"/>
      <dgm:constr type="w" for="ch" forName="last" refType="userH" fact="0.6"/>
      <dgm:constr type="h" for="ch" forName="last" refType="userH"/>
      <dgm:constr type="w" for="ch" forName="chevronComposite1" refType="userH" fact="0.22"/>
      <dgm:constr type="h" for="ch" forName="chevronComposite1" refType="userH" fact="0.52"/>
      <dgm:constr type="w" for="ch" forName="chevronComposite2" refType="userH" fact="0.22"/>
      <dgm:constr type="h" for="ch" forName="chevronComposite2" refType="userH" fact="0.52"/>
      <dgm:constr type="w" for="ch" forName="overlap" refType="userH" fact="-0.04"/>
      <dgm:constr type="h" for="ch" forName="overlap" refType="userH" fact="0.06"/>
      <dgm:constr type="primFontSz" for="des" forName="parTx1" op="equ" val="65"/>
      <dgm:constr type="primFontSz" for="des" forName="parTxMid" refType="primFontSz" refFor="des" refForName="parTx1" op="equ"/>
      <dgm:constr type="primFontSz" for="des" forName="circleTx" refType="primFontSz" refFor="des" refForName="parTx1" op="equ"/>
      <dgm:constr type="primFontSz" for="des" forName="desTx1" op="equ" val="65"/>
      <dgm:constr type="primFontSz" for="des" forName="desTxMid" refType="primFontSz" refFor="des" refForName="desTx1" op="equ"/>
      <dgm:constr type="primFontSz" for="des" forName="desTxN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chaos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parTx1" refType="w" fact="0.5"/>
              <dgm:constr type="t" for="ch" forName="parTx1" refType="w" fact="0.32"/>
              <dgm:constr type="w" for="ch" forName="parTx1" refType="w" fact="0.88"/>
              <dgm:constr type="h" for="ch" forName="parTx1" refType="w" fact="0.29"/>
              <dgm:constr type="ctrX" for="ch" forName="desTx1" refType="w" fact="0.5"/>
              <dgm:constr type="b" for="ch" forName="desTx1" refType="h"/>
              <dgm:constr type="w" for="ch" forName="desTx1" refType="w" fact="0.88"/>
              <dgm:constr type="h" for="ch" forName="desTx1" refType="h" fact="0.37"/>
              <dgm:constr type="l" for="ch" forName="c1" refType="w" fact="0.05"/>
              <dgm:constr type="t" for="ch" forName="c1" refType="w" fact="0.23"/>
              <dgm:constr type="w" for="ch" forName="c1" refType="w" fact="0.07"/>
              <dgm:constr type="h" for="ch" forName="c1" refType="w" refFor="ch" refForName="c1"/>
              <dgm:constr type="l" for="ch" forName="c2" refType="w" fact="0.1"/>
              <dgm:constr type="t" for="ch" forName="c2" refType="w" fact="0.13"/>
              <dgm:constr type="w" for="ch" forName="c2" refType="w" fact="0.07"/>
              <dgm:constr type="h" for="ch" forName="c2" refType="w" refFor="ch" refForName="c2"/>
              <dgm:constr type="l" for="ch" forName="c3" refType="w" fact="0.22"/>
              <dgm:constr type="t" for="ch" forName="c3" refType="w" fact="0.15"/>
              <dgm:constr type="w" for="ch" forName="c3" refType="w" fact="0.11"/>
              <dgm:constr type="h" for="ch" forName="c3" refType="w" refFor="ch" refForName="c3"/>
              <dgm:constr type="l" for="ch" forName="c4" refType="w" fact="0.32"/>
              <dgm:constr type="t" for="ch" forName="c4" refType="w" fact="0.04"/>
              <dgm:constr type="w" for="ch" forName="c4" refType="w" fact="0.07"/>
              <dgm:constr type="h" for="ch" forName="c4" refType="w" refFor="ch" refForName="c4"/>
              <dgm:constr type="l" for="ch" forName="c5" refType="w" fact="0.45"/>
              <dgm:constr type="t" for="ch" forName="c5" refType="w" fact="0"/>
              <dgm:constr type="w" for="ch" forName="c5" refType="w" fact="0.07"/>
              <dgm:constr type="h" for="ch" forName="c5" refType="w" refFor="ch" refForName="c5"/>
              <dgm:constr type="l" for="ch" forName="c6" refType="w" fact="0.61"/>
              <dgm:constr type="t" for="ch" forName="c6" refType="w" fact="0.07"/>
              <dgm:constr type="w" for="ch" forName="c6" refType="w" fact="0.07"/>
              <dgm:constr type="h" for="ch" forName="c6" refType="w" refFor="ch" refForName="c6"/>
              <dgm:constr type="l" for="ch" forName="c7" refType="w" fact="0.71"/>
              <dgm:constr type="t" for="ch" forName="c7" refType="w" fact="0.12"/>
              <dgm:constr type="w" for="ch" forName="c7" refType="w" fact="0.11"/>
              <dgm:constr type="h" for="ch" forName="c7" refType="w" refFor="ch" refForName="c7"/>
              <dgm:constr type="l" for="ch" forName="c8" refType="w" fact="0.85"/>
              <dgm:constr type="t" for="ch" forName="c8" refType="w" fact="0.23"/>
              <dgm:constr type="w" for="ch" forName="c8" refType="w" fact="0.07"/>
              <dgm:constr type="h" for="ch" forName="c8" refType="w" refFor="ch" refForName="c8"/>
              <dgm:constr type="l" for="ch" forName="c9" refType="w" fact="0.91"/>
              <dgm:constr type="t" for="ch" forName="c9" refType="w" fact="0.34"/>
              <dgm:constr type="w" for="ch" forName="c9" refType="w" fact="0.07"/>
              <dgm:constr type="h" for="ch" forName="c9" refType="w" refFor="ch" refForName="c9"/>
              <dgm:constr type="l" for="ch" forName="c10" refType="w" fact="0.39"/>
              <dgm:constr type="t" for="ch" forName="c10" refType="w" fact="0.13"/>
              <dgm:constr type="w" for="ch" forName="c10" refType="w" fact="0.18"/>
              <dgm:constr type="h" for="ch" forName="c10" refType="w" refFor="ch" refForName="c10"/>
              <dgm:constr type="l" for="ch" forName="c11" refType="w" fact="0"/>
              <dgm:constr type="t" for="ch" forName="c11" refType="w" fact="0.51"/>
              <dgm:constr type="w" for="ch" forName="c11" refType="w" fact="0.07"/>
              <dgm:constr type="h" for="ch" forName="c11" refType="w" refFor="ch" refForName="c11"/>
              <dgm:constr type="l" for="ch" forName="c12" refType="w" fact="0.06"/>
              <dgm:constr type="t" for="ch" forName="c12" refType="w" fact="0.6"/>
              <dgm:constr type="w" for="ch" forName="c12" refType="w" fact="0.11"/>
              <dgm:constr type="h" for="ch" forName="c12" refType="w" refFor="ch" refForName="c12"/>
              <dgm:constr type="l" for="ch" forName="c13" refType="w" fact="0.21"/>
              <dgm:constr type="t" for="ch" forName="c13" refType="w" fact="0.68"/>
              <dgm:constr type="w" for="ch" forName="c13" refType="w" fact="0.16"/>
              <dgm:constr type="h" for="ch" forName="c13" refType="w" refFor="ch" refForName="c13"/>
              <dgm:constr type="l" for="ch" forName="c14" refType="w" fact="0.42"/>
              <dgm:constr type="t" for="ch" forName="c14" refType="w" fact="0.81"/>
              <dgm:constr type="w" for="ch" forName="c14" refType="w" fact="0.07"/>
              <dgm:constr type="h" for="ch" forName="c14" refType="w" refFor="ch" refForName="c14"/>
              <dgm:constr type="l" for="ch" forName="c15" refType="w" fact="0.46"/>
              <dgm:constr type="t" for="ch" forName="c15" refType="w" fact="0.68"/>
              <dgm:constr type="w" for="ch" forName="c15" refType="w" fact="0.11"/>
              <dgm:constr type="h" for="ch" forName="c15" refType="w" refFor="ch" refForName="c15"/>
              <dgm:constr type="l" for="ch" forName="c16" refType="w" fact="0.56"/>
              <dgm:constr type="t" for="ch" forName="c16" refType="w" fact="0.82"/>
              <dgm:constr type="w" for="ch" forName="c16" refType="w" fact="0.07"/>
              <dgm:constr type="h" for="ch" forName="c16" refType="w" refFor="ch" refForName="c16"/>
              <dgm:constr type="l" for="ch" forName="c17" refType="w" fact="0.65"/>
              <dgm:constr type="t" for="ch" forName="c17" refType="w" fact="0.66"/>
              <dgm:constr type="w" for="ch" forName="c17" refType="w" fact="0.16"/>
              <dgm:constr type="h" for="ch" forName="c17" refType="w" refFor="ch" refForName="c17"/>
              <dgm:constr type="l" for="ch" forName="c18" refType="w" fact="0.87"/>
              <dgm:constr type="t" for="ch" forName="c18" refType="w" fact="0.62"/>
              <dgm:constr type="w" for="ch" forName="c18" refType="w" fact="0.11"/>
              <dgm:constr type="h" for="ch" forName="c18" refType="w" refFor="ch" refForName="c18"/>
            </dgm:constrLst>
            <dgm:layoutNode name="parTx1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7">
              <dgm:if name="Name8" axis="ch" ptType="node" func="cnt" op="gte" val="1">
                <dgm:layoutNode name="desTx1" styleLbl="revTx">
                  <dgm:varLst>
                    <dgm:bulletEnabled val="1"/>
                  </dgm:varLst>
                  <dgm:choose name="Name9">
                    <dgm:if name="Name10" axis="ch" ptType="node" func="cnt" op="equ" val="1">
                      <dgm:alg type="tx">
                        <dgm:param type="shpTxLTRAlignCh" val="l"/>
                      </dgm:alg>
                    </dgm:if>
                    <dgm:else name="Name11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2"/>
            </dgm:choose>
            <dgm:layoutNode name="c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9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0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layoutNode>
        </dgm:if>
        <dgm:if name="Name13" axis="self" ptType="node" func="revPos" op="equ" val="1">
          <dgm:layoutNode name="last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circleTx" refType="w" fact="0.5"/>
              <dgm:constr type="t" for="ch" forName="circleTx" refType="w" fact="0.117"/>
              <dgm:constr type="w" for="ch" forName="circleTx" refType="h" refFor="ch" refForName="circleTx"/>
              <dgm:constr type="h" for="ch" forName="circleTx" refType="w" fact="0.85"/>
              <dgm:constr type="l" for="ch" forName="desTxN"/>
              <dgm:constr type="b" for="ch" forName="desTxN" refType="h"/>
              <dgm:constr type="w" for="ch" forName="desTxN" refType="w"/>
              <dgm:constr type="h" for="ch" forName="desTxN" refType="h" fact="0.37"/>
              <dgm:constr type="ctrX" for="ch" forName="spN" refType="w" fact="0.5"/>
              <dgm:constr type="t" for="ch" forName="spN"/>
              <dgm:constr type="w" for="ch" forName="spN" refType="w" fact="0.93"/>
              <dgm:constr type="h" for="ch" forName="spN" refType="h" fact="0.01"/>
            </dgm:constrLst>
            <dgm:layoutNode name="circleTx" styleLbl="node1">
              <dgm:alg type="tx"/>
              <dgm:shape xmlns:r="http://schemas.openxmlformats.org/officeDocument/2006/relationships" type="ellipse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  <dgm:choose name="Name14">
              <dgm:if name="Name15" axis="ch" ptType="node" func="cnt" op="gte" val="1">
                <dgm:layoutNode name="desTxN" styleLbl="revTx">
                  <dgm:varLst>
                    <dgm:bulletEnabled val="1"/>
                  </dgm:varLst>
                  <dgm:choose name="Name16">
                    <dgm:if name="Name17" axis="ch" ptType="node" func="cnt" op="equ" val="1">
                      <dgm:alg type="tx">
                        <dgm:param type="shpTxLTRAlignCh" val="l"/>
                      </dgm:alg>
                    </dgm:if>
                    <dgm:else name="Name18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  <dgm:layoutNode name="spN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if>
        <dgm:else name="Name20">
          <dgm:layoutNode name="middl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l" for="ch" forName="parTxMid"/>
              <dgm:constr type="t" for="ch" forName="parTxMid" refType="w" fact="0.167"/>
              <dgm:constr type="w" for="ch" forName="parTxMid" refType="w"/>
              <dgm:constr type="h" for="ch" forName="parTxMid" refType="w" fact="0.7"/>
              <dgm:constr type="l" for="ch" forName="desTxMid"/>
              <dgm:constr type="b" for="ch" forName="desTxMid" refType="h"/>
              <dgm:constr type="w" for="ch" forName="desTxMid" refType="w"/>
              <dgm:constr type="h" for="ch" forName="desTxMid" refType="h" fact="0.37"/>
              <dgm:constr type="ctrX" for="ch" forName="spMid" refType="w" fact="0.5"/>
              <dgm:constr type="t" for="ch" forName="spMid"/>
              <dgm:constr type="w" for="ch" forName="spMid" refType="w" fact="0.01"/>
              <dgm:constr type="h" for="ch" forName="spMid" refType="h" fact="0.01"/>
            </dgm:constrLst>
            <dgm:layoutNode name="parTxMid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21">
              <dgm:if name="Name22" axis="ch" ptType="node" func="cnt" op="gte" val="1">
                <dgm:layoutNode name="desTxMid" styleLbl="revTx">
                  <dgm:varLst>
                    <dgm:bulletEnabled val="1"/>
                  </dgm:varLst>
                  <dgm:choose name="Name23">
                    <dgm:if name="Name24" axis="ch" ptType="node" func="cnt" op="equ" val="1">
                      <dgm:alg type="tx">
                        <dgm:param type="shpTxLTRAlignCh" val="l"/>
                      </dgm:alg>
                    </dgm:if>
                    <dgm:else name="Name25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26"/>
            </dgm:choose>
            <dgm:layoutNode name="spMid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else>
      </dgm:choose>
      <dgm:forEach name="Name27" axis="followSib" ptType="sibTrans" cnt="1">
        <dgm:layoutNode name="chevronComposite1" styleLbl="alignImgPlace1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chevron1"/>
            <dgm:constr type="t" for="ch" forName="chevron1" refType="h" fact="0.1923"/>
            <dgm:constr type="w" for="ch" forName="chevron1" refType="w"/>
            <dgm:constr type="b" for="ch" forName="chevron1" refType="h"/>
            <dgm:constr type="l" for="ch" forName="spChevron1"/>
            <dgm:constr type="t" for="ch" forName="spChevron1"/>
            <dgm:constr type="w" for="ch" forName="spChevron1" refType="w" fact="0.01"/>
            <dgm:constr type="h" for="ch" forName="spChevron1" refType="h" fact="0.01"/>
          </dgm:constrLst>
          <dgm:layoutNode name="chevron1">
            <dgm:alg type="sp"/>
            <dgm:choose name="Name28">
              <dgm:if name="Name29" func="var" arg="dir" op="equ" val="norm">
                <dgm:shape xmlns:r="http://schemas.openxmlformats.org/officeDocument/2006/relationships" type="chevron" r:blip="">
                  <dgm:adjLst>
                    <dgm:adj idx="1" val="0.6231"/>
                  </dgm:adjLst>
                </dgm:shape>
              </dgm:if>
              <dgm:else name="Name30">
                <dgm:shape xmlns:r="http://schemas.openxmlformats.org/officeDocument/2006/relationships" rot="180" type="chevron" r:blip="">
                  <dgm:adjLst>
                    <dgm:adj idx="1" val="0.6231"/>
                  </dgm:adjLst>
                </dgm:shape>
              </dgm:else>
            </dgm:choose>
            <dgm:presOf/>
          </dgm:layoutNode>
          <dgm:layoutNode name="spChevron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  <dgm:choose name="Name31">
          <dgm:if name="Name32" axis="root ch" ptType="all node" func="cnt" op="equ" val="2">
            <dgm:layoutNode name="overl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chevronComposite2" styleLbl="alignImgPlace1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l" for="ch" forName="chevron2"/>
                <dgm:constr type="t" for="ch" forName="chevron2" refType="h" fact="0.1923"/>
                <dgm:constr type="w" for="ch" forName="chevron2" refType="w"/>
                <dgm:constr type="b" for="ch" forName="chevron2" refType="h"/>
                <dgm:constr type="l" for="ch" forName="spChevron2"/>
                <dgm:constr type="t" for="ch" forName="spChevron2"/>
                <dgm:constr type="w" for="ch" forName="spChevron2" refType="w" fact="0.01"/>
                <dgm:constr type="h" for="ch" forName="spChevron2" refType="h" fact="0.01"/>
              </dgm:constrLst>
              <dgm:layoutNode name="chevron2">
                <dgm:alg type="sp"/>
                <dgm:choose name="Name33">
                  <dgm:if name="Name34" func="var" arg="dir" op="equ" val="norm">
                    <dgm:shape xmlns:r="http://schemas.openxmlformats.org/officeDocument/2006/relationships" type="chevron" r:blip="">
                      <dgm:adjLst>
                        <dgm:adj idx="1" val="0.6231"/>
                      </dgm:adjLst>
                    </dgm:shape>
                  </dgm:if>
                  <dgm:else name="Name35">
                    <dgm:shape xmlns:r="http://schemas.openxmlformats.org/officeDocument/2006/relationships" rot="180" type="chevron" r:blip="">
                      <dgm:adjLst>
                        <dgm:adj idx="1" val="0.6231"/>
                      </dgm:adjLst>
                    </dgm:shape>
                  </dgm:else>
                </dgm:choose>
                <dgm:presOf/>
              </dgm:layoutNode>
              <dgm:layoutNode name="spChevron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layoutNode>
          </dgm:if>
          <dgm:else name="Name36"/>
        </dgm:choos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Geometr415 Lt BT Lite" panose="020B05020202040203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A739DB-9810-4680-BB5D-ED52B5EBA6A2}" type="datetimeFigureOut">
              <a:rPr lang="en-GB" smtClean="0">
                <a:latin typeface="Geometr415 Lt BT Lite" panose="020B0502020204020303" pitchFamily="34" charset="0"/>
              </a:rPr>
              <a:t>20/05/2021</a:t>
            </a:fld>
            <a:endParaRPr lang="en-GB" dirty="0">
              <a:latin typeface="Geometr415 Lt BT Lite" panose="020B05020202040203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Geometr415 Lt BT Lite" panose="020B05020202040203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88AAE7-7CF3-4860-AF05-F21E161C5041}" type="slidenum">
              <a:rPr lang="en-GB" smtClean="0">
                <a:latin typeface="Geometr415 Lt BT Lite" panose="020B0502020204020303" pitchFamily="34" charset="0"/>
              </a:rPr>
              <a:t>‹#›</a:t>
            </a:fld>
            <a:endParaRPr lang="en-GB" dirty="0">
              <a:latin typeface="Geometr415 Lt BT Lite" panose="020B0502020204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371841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eometr415 Lt BT Lite" panose="020B0502020204020303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eometr415 Lt BT Lite" panose="020B0502020204020303" pitchFamily="34" charset="0"/>
              </a:defRPr>
            </a:lvl1pPr>
          </a:lstStyle>
          <a:p>
            <a:fld id="{C7FE09CE-EB3E-4FEB-82E8-49D874FF8FAB}" type="datetimeFigureOut">
              <a:rPr lang="en-GB" smtClean="0"/>
              <a:pPr/>
              <a:t>20/05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eometr415 Lt BT Lite" panose="020B0502020204020303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eometr415 Lt BT Lite" panose="020B0502020204020303" pitchFamily="34" charset="0"/>
              </a:defRPr>
            </a:lvl1pPr>
          </a:lstStyle>
          <a:p>
            <a:fld id="{92AC558B-8C34-45AB-BDC3-DF71CBC0B40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22082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1pPr>
    <a:lvl2pPr marL="496016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2pPr>
    <a:lvl3pPr marL="992033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3pPr>
    <a:lvl4pPr marL="1488049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4pPr>
    <a:lvl5pPr marL="1984065" algn="l" defTabSz="992033" rtl="0" eaLnBrk="1" latinLnBrk="0" hangingPunct="1">
      <a:defRPr sz="1302" kern="1200">
        <a:solidFill>
          <a:schemeClr val="tx1"/>
        </a:solidFill>
        <a:latin typeface="Geometr415 Lt BT Lite" panose="020B0502020204020303" pitchFamily="34" charset="0"/>
        <a:ea typeface="+mn-ea"/>
        <a:cs typeface="+mn-cs"/>
      </a:defRPr>
    </a:lvl5pPr>
    <a:lvl6pPr marL="2480081" algn="l" defTabSz="992033" rtl="0" eaLnBrk="1" latinLnBrk="0" hangingPunct="1">
      <a:defRPr sz="1302" kern="1200">
        <a:solidFill>
          <a:schemeClr val="tx1"/>
        </a:solidFill>
        <a:latin typeface="+mn-lt"/>
        <a:ea typeface="+mn-ea"/>
        <a:cs typeface="+mn-cs"/>
      </a:defRPr>
    </a:lvl6pPr>
    <a:lvl7pPr marL="2976098" algn="l" defTabSz="992033" rtl="0" eaLnBrk="1" latinLnBrk="0" hangingPunct="1">
      <a:defRPr sz="1302" kern="1200">
        <a:solidFill>
          <a:schemeClr val="tx1"/>
        </a:solidFill>
        <a:latin typeface="+mn-lt"/>
        <a:ea typeface="+mn-ea"/>
        <a:cs typeface="+mn-cs"/>
      </a:defRPr>
    </a:lvl7pPr>
    <a:lvl8pPr marL="3472114" algn="l" defTabSz="992033" rtl="0" eaLnBrk="1" latinLnBrk="0" hangingPunct="1">
      <a:defRPr sz="1302" kern="1200">
        <a:solidFill>
          <a:schemeClr val="tx1"/>
        </a:solidFill>
        <a:latin typeface="+mn-lt"/>
        <a:ea typeface="+mn-ea"/>
        <a:cs typeface="+mn-cs"/>
      </a:defRPr>
    </a:lvl8pPr>
    <a:lvl9pPr marL="3968130" algn="l" defTabSz="992033" rtl="0" eaLnBrk="1" latinLnBrk="0" hangingPunct="1">
      <a:defRPr sz="13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-2" y="1"/>
            <a:ext cx="19648488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825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+ Images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01393" y="2858876"/>
            <a:ext cx="9647097" cy="23580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758840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Title 16">
            <a:extLst>
              <a:ext uri="{FF2B5EF4-FFF2-40B4-BE49-F238E27FC236}">
                <a16:creationId xmlns:a16="http://schemas.microsoft.com/office/drawing/2014/main" id="{CE5D602C-92F1-8046-8D40-452912D91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105164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7962362-BAD5-E247-984F-1800E2F8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65083" y="6758840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BB66159-0C86-CC40-8FD2-F1F05952561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2858876"/>
            <a:ext cx="9647097" cy="23580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2257CEE-9935-6745-9033-A9A029189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65083" y="5790650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5136590-A03F-F142-A3B8-7534CE9E8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5790650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2145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- Title + Images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Title 16">
            <a:extLst>
              <a:ext uri="{FF2B5EF4-FFF2-40B4-BE49-F238E27FC236}">
                <a16:creationId xmlns:a16="http://schemas.microsoft.com/office/drawing/2014/main" id="{CE5D602C-92F1-8046-8D40-452912D91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105164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BB66159-0C86-CC40-8FD2-F1F05952561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5136590-A03F-F142-A3B8-7534CE9E8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3311B9-B2FD-9D41-8D3A-F349C873A6B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2497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3E27BC4B-F575-934B-9A18-9FE44E3C1A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24994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F33E71D5-A434-9248-9E8C-EB7000CC66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1086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DBC8D47-9DE1-2649-AFD4-13E5AF97D3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61085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DF36678-F34F-4E43-8826-2ADB4F5918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632007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7805606-3F61-D64D-9D87-A71F43F27E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632006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3719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2" y="2"/>
            <a:ext cx="19648488" cy="432483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5" name="Title 16">
            <a:extLst>
              <a:ext uri="{FF2B5EF4-FFF2-40B4-BE49-F238E27FC236}">
                <a16:creationId xmlns:a16="http://schemas.microsoft.com/office/drawing/2014/main" id="{1FF5FAD5-3E9B-664D-9AF9-24EF345B99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4810860"/>
            <a:ext cx="15294466" cy="715227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33E6A55-F1AB-D94D-84D9-9072F18E61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872722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08EBCC-BCAE-4D4B-8C7B-68CD0FBA4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24244" y="6872722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D5446A8-78B2-384E-B319-7885F37F20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4244" y="6012106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1FF4F1C-287D-A546-B5C8-79B3BAA766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6012106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6491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Content + Image (Combine with corresponding RIGH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824244" y="0"/>
            <a:ext cx="9824247" cy="110521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8000" y="3125586"/>
            <a:ext cx="8219538" cy="670875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9" name="Title 16">
            <a:extLst>
              <a:ext uri="{FF2B5EF4-FFF2-40B4-BE49-F238E27FC236}">
                <a16:creationId xmlns:a16="http://schemas.microsoft.com/office/drawing/2014/main" id="{D9FFA49A-9266-9B42-98B4-108143BDF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8219538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526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Image + Content (combine with corresponding LEFT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6">
            <a:extLst>
              <a:ext uri="{FF2B5EF4-FFF2-40B4-BE49-F238E27FC236}">
                <a16:creationId xmlns:a16="http://schemas.microsoft.com/office/drawing/2014/main" id="{C563BF36-F2C2-644C-A5F2-F8C1A73881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5318613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3D4ACA-A6E4-2A44-91D1-CB813B6B858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32498" y="3125585"/>
            <a:ext cx="9433176" cy="670875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8564C25-6F66-9E49-94E6-F28EB56EAF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24244" y="3125586"/>
            <a:ext cx="8264251" cy="670875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49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Title +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512503" y="6936941"/>
            <a:ext cx="5198506" cy="1138236"/>
          </a:xfrm>
        </p:spPr>
        <p:txBody>
          <a:bodyPr anchor="t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4" name="Picture Placeholder 6"/>
          <p:cNvSpPr>
            <a:spLocks noGrp="1" noChangeAspect="1"/>
          </p:cNvSpPr>
          <p:nvPr>
            <p:ph type="pic" sz="quarter" idx="18"/>
          </p:nvPr>
        </p:nvSpPr>
        <p:spPr>
          <a:xfrm>
            <a:off x="1185561" y="6912690"/>
            <a:ext cx="2939774" cy="11624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29"/>
          </p:nvPr>
        </p:nvSpPr>
        <p:spPr>
          <a:xfrm>
            <a:off x="1194624" y="8147148"/>
            <a:ext cx="14102086" cy="1295160"/>
          </a:xfrm>
        </p:spPr>
        <p:txBody>
          <a:bodyPr numCol="1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31"/>
          </p:nvPr>
        </p:nvSpPr>
        <p:spPr>
          <a:xfrm>
            <a:off x="10098204" y="6936941"/>
            <a:ext cx="5198506" cy="1138236"/>
          </a:xfrm>
        </p:spPr>
        <p:txBody>
          <a:bodyPr anchor="t"/>
          <a:lstStyle>
            <a:lvl1pPr algn="l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3"/>
          </p:nvPr>
        </p:nvSpPr>
        <p:spPr>
          <a:xfrm>
            <a:off x="4512503" y="3923321"/>
            <a:ext cx="5198506" cy="1180242"/>
          </a:xfrm>
        </p:spPr>
        <p:txBody>
          <a:bodyPr anchor="t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30" name="Picture Placeholder 6"/>
          <p:cNvSpPr>
            <a:spLocks noGrp="1" noChangeAspect="1"/>
          </p:cNvSpPr>
          <p:nvPr>
            <p:ph type="pic" sz="quarter" idx="34"/>
          </p:nvPr>
        </p:nvSpPr>
        <p:spPr>
          <a:xfrm>
            <a:off x="1186772" y="3937190"/>
            <a:ext cx="2939774" cy="11624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35" name="Text Placeholder 11"/>
          <p:cNvSpPr>
            <a:spLocks noGrp="1"/>
          </p:cNvSpPr>
          <p:nvPr>
            <p:ph type="body" sz="quarter" idx="35"/>
          </p:nvPr>
        </p:nvSpPr>
        <p:spPr>
          <a:xfrm>
            <a:off x="1194624" y="5175535"/>
            <a:ext cx="14102086" cy="1295160"/>
          </a:xfrm>
        </p:spPr>
        <p:txBody>
          <a:bodyPr numCol="1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36" name="Text Placeholder 11"/>
          <p:cNvSpPr>
            <a:spLocks noGrp="1"/>
          </p:cNvSpPr>
          <p:nvPr>
            <p:ph type="body" sz="quarter" idx="36"/>
          </p:nvPr>
        </p:nvSpPr>
        <p:spPr>
          <a:xfrm>
            <a:off x="10098204" y="3923321"/>
            <a:ext cx="5198506" cy="1180242"/>
          </a:xfrm>
        </p:spPr>
        <p:txBody>
          <a:bodyPr anchor="t"/>
          <a:lstStyle>
            <a:lvl1pPr algn="l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13" name="Title 16">
            <a:extLst>
              <a:ext uri="{FF2B5EF4-FFF2-40B4-BE49-F238E27FC236}">
                <a16:creationId xmlns:a16="http://schemas.microsoft.com/office/drawing/2014/main" id="{64BEBFA8-0374-ED4C-A349-0D111A0CC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2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15416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188000" y="1064295"/>
            <a:ext cx="16513507" cy="1091049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AD4E6B-C2E1-0E4B-8FD2-9E7ACBBE45F9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0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90226D4D-BF9E-E346-8511-13DF4255000B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599271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0138CA97-467A-7340-8BC8-69CE44F1EE8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3198541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0213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388877" y="343846"/>
            <a:ext cx="18870735" cy="9658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GB" sz="3777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0931" y="693832"/>
            <a:ext cx="18092981" cy="15411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526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RIGHT - Full Bleed Ima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188097" y="999720"/>
            <a:ext cx="16835354" cy="663304"/>
          </a:xfrm>
          <a:prstGeom prst="rect">
            <a:avLst/>
          </a:prstGeom>
          <a:solidFill>
            <a:srgbClr val="FFFFFF"/>
          </a:solidFill>
        </p:spPr>
        <p:txBody>
          <a:bodyPr>
            <a:normAutofit/>
          </a:bodyPr>
          <a:lstStyle>
            <a:lvl1pPr>
              <a:lnSpc>
                <a:spcPct val="100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6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188095" y="1701702"/>
            <a:ext cx="16835354" cy="5155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188096" y="4407016"/>
            <a:ext cx="3750063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3200" b="1" spc="0"/>
            </a:pPr>
            <a:endParaRPr/>
          </a:p>
        </p:txBody>
      </p:sp>
      <p:sp>
        <p:nvSpPr>
          <p:cNvPr id="71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7007473" y="4407016"/>
            <a:ext cx="3916333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3200" b="1" spc="0"/>
            </a:pPr>
            <a:endParaRPr/>
          </a:p>
        </p:txBody>
      </p:sp>
      <p:sp>
        <p:nvSpPr>
          <p:cNvPr id="72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2993121" y="4407016"/>
            <a:ext cx="3916332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3200" b="1" spc="0"/>
            </a:pPr>
            <a:endParaRPr/>
          </a:p>
        </p:txBody>
      </p:sp>
      <p:sp>
        <p:nvSpPr>
          <p:cNvPr id="73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88096" y="6119931"/>
            <a:ext cx="3750063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 spc="0"/>
            </a:pPr>
            <a:endParaRPr/>
          </a:p>
        </p:txBody>
      </p:sp>
      <p:sp>
        <p:nvSpPr>
          <p:cNvPr id="74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7007473" y="6119931"/>
            <a:ext cx="3916333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 spc="0"/>
            </a:pPr>
            <a:endParaRPr/>
          </a:p>
        </p:txBody>
      </p:sp>
      <p:sp>
        <p:nvSpPr>
          <p:cNvPr id="75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12993121" y="6119931"/>
            <a:ext cx="3916332" cy="144682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400" spc="0"/>
            </a:pPr>
            <a:endParaRPr/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7010322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456061" y="1808771"/>
            <a:ext cx="14736366" cy="3847794"/>
          </a:xfrm>
        </p:spPr>
        <p:txBody>
          <a:bodyPr anchor="b"/>
          <a:lstStyle>
            <a:lvl1pPr algn="ctr">
              <a:defRPr sz="967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56061" y="5804951"/>
            <a:ext cx="14736366" cy="2668383"/>
          </a:xfrm>
        </p:spPr>
        <p:txBody>
          <a:bodyPr/>
          <a:lstStyle>
            <a:lvl1pPr marL="0" indent="0" algn="ctr">
              <a:buNone/>
              <a:defRPr sz="3868"/>
            </a:lvl1pPr>
            <a:lvl2pPr marL="736824" indent="0" algn="ctr">
              <a:buNone/>
              <a:defRPr sz="3223"/>
            </a:lvl2pPr>
            <a:lvl3pPr marL="1473647" indent="0" algn="ctr">
              <a:buNone/>
              <a:defRPr sz="2901"/>
            </a:lvl3pPr>
            <a:lvl4pPr marL="2210471" indent="0" algn="ctr">
              <a:buNone/>
              <a:defRPr sz="2579"/>
            </a:lvl4pPr>
            <a:lvl5pPr marL="2947294" indent="0" algn="ctr">
              <a:buNone/>
              <a:defRPr sz="2579"/>
            </a:lvl5pPr>
            <a:lvl6pPr marL="3684118" indent="0" algn="ctr">
              <a:buNone/>
              <a:defRPr sz="2579"/>
            </a:lvl6pPr>
            <a:lvl7pPr marL="4420941" indent="0" algn="ctr">
              <a:buNone/>
              <a:defRPr sz="2579"/>
            </a:lvl7pPr>
            <a:lvl8pPr marL="5157765" indent="0" algn="ctr">
              <a:buNone/>
              <a:defRPr sz="2579"/>
            </a:lvl8pPr>
            <a:lvl9pPr marL="5894588" indent="0" algn="ctr">
              <a:buNone/>
              <a:defRPr sz="2579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54325-9ADF-47EF-8749-EB72F28B404B}" type="datetimeFigureOut">
              <a:rPr lang="ru-RU" smtClean="0"/>
              <a:t>20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B1FA1-5EF9-44BE-8EFA-793237C2636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2133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9648488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2769891" y="1786243"/>
            <a:ext cx="14108710" cy="1196124"/>
          </a:xfrm>
          <a:solidFill>
            <a:schemeClr val="bg1"/>
          </a:solidFill>
        </p:spPr>
        <p:txBody>
          <a:bodyPr lIns="180000" bIns="108000"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9790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-2" y="1"/>
            <a:ext cx="19648488" cy="11052175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1938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9648488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2769891" y="1786243"/>
            <a:ext cx="14108710" cy="1196124"/>
          </a:xfrm>
          <a:solidFill>
            <a:schemeClr val="bg1"/>
          </a:solidFill>
        </p:spPr>
        <p:txBody>
          <a:bodyPr lIns="180000" bIns="108000" anchor="ctr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113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9824244" y="1"/>
            <a:ext cx="9824244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3"/>
            <a:ext cx="8041060" cy="1467321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</a:t>
            </a:r>
            <a:br>
              <a:rPr lang="en-GB" dirty="0"/>
            </a:br>
            <a:r>
              <a:rPr lang="en-GB" dirty="0"/>
              <a:t>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983315-B305-1F47-8DD4-5DCE202073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88001" y="3189767"/>
            <a:ext cx="8041060" cy="6400801"/>
          </a:xfrm>
        </p:spPr>
        <p:txBody>
          <a:bodyPr numCol="1" spcCol="288000"/>
          <a:lstStyle>
            <a:lvl1pPr>
              <a:defRPr sz="2800"/>
            </a:lvl1pPr>
            <a:lvl2pPr>
              <a:defRPr sz="28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617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7944" y="5526087"/>
            <a:ext cx="9162169" cy="2576114"/>
          </a:xfrm>
        </p:spPr>
        <p:txBody>
          <a:bodyPr numCol="1" spcCol="288000"/>
          <a:lstStyle>
            <a:lvl1pPr>
              <a:lnSpc>
                <a:spcPct val="90000"/>
              </a:lnSpc>
              <a:defRPr sz="54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</a:t>
            </a:r>
            <a:br>
              <a:rPr lang="en-GB" dirty="0"/>
            </a:br>
            <a:r>
              <a:rPr lang="en-GB" dirty="0"/>
              <a:t>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7945" y="4660688"/>
            <a:ext cx="6961522" cy="515388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3833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7147479"/>
            <a:ext cx="6961522" cy="757072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60469" y="7147479"/>
            <a:ext cx="6961522" cy="757072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7904550"/>
            <a:ext cx="6961522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60469" y="7904550"/>
            <a:ext cx="6961522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B871EA9-E646-7247-B4C4-3FE4924001F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187451" y="2806995"/>
            <a:ext cx="6961522" cy="391401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Рисунок 2">
            <a:extLst>
              <a:ext uri="{FF2B5EF4-FFF2-40B4-BE49-F238E27FC236}">
                <a16:creationId xmlns:a16="http://schemas.microsoft.com/office/drawing/2014/main" id="{E715BAC9-C169-2D41-9722-6642543ADEC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1060468" y="2806995"/>
            <a:ext cx="6961522" cy="3914018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00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4405751"/>
            <a:ext cx="3749760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6908" y="4405751"/>
            <a:ext cx="3916015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7FFFD7D-E191-F24B-B542-4F8AF4F7C1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992071" y="4405751"/>
            <a:ext cx="3916015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6118173"/>
            <a:ext cx="3749760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06908" y="6118173"/>
            <a:ext cx="3916015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9B85105-3309-5542-932C-25969B0D8D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992071" y="6118173"/>
            <a:ext cx="3916015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49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4405751"/>
            <a:ext cx="5731938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2937" y="4405751"/>
            <a:ext cx="5986078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6118173"/>
            <a:ext cx="5731938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22937" y="6118173"/>
            <a:ext cx="5986078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29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" name="Диаграмма 2">
            <a:extLst>
              <a:ext uri="{FF2B5EF4-FFF2-40B4-BE49-F238E27FC236}">
                <a16:creationId xmlns:a16="http://schemas.microsoft.com/office/drawing/2014/main" id="{CEEB06CA-F7E8-184E-BA4B-8E56BBA2D014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188000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7" name="Диаграмма 2">
            <a:extLst>
              <a:ext uri="{FF2B5EF4-FFF2-40B4-BE49-F238E27FC236}">
                <a16:creationId xmlns:a16="http://schemas.microsoft.com/office/drawing/2014/main" id="{64C08545-C1A5-6446-AFA4-D10252C25C6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823255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8" name="Диаграмма 2">
            <a:extLst>
              <a:ext uri="{FF2B5EF4-FFF2-40B4-BE49-F238E27FC236}">
                <a16:creationId xmlns:a16="http://schemas.microsoft.com/office/drawing/2014/main" id="{2354A7B8-3A1F-EB4D-99D9-F6EB039C0B3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2458510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967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188001" y="2617650"/>
            <a:ext cx="8232004" cy="7016267"/>
          </a:xfrm>
        </p:spPr>
        <p:txBody>
          <a:bodyPr numCol="1" spcCol="288000"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3926122" cy="1363021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908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+ Images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01393" y="2858876"/>
            <a:ext cx="9647097" cy="23580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758840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Title 16">
            <a:extLst>
              <a:ext uri="{FF2B5EF4-FFF2-40B4-BE49-F238E27FC236}">
                <a16:creationId xmlns:a16="http://schemas.microsoft.com/office/drawing/2014/main" id="{CE5D602C-92F1-8046-8D40-452912D91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105164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7962362-BAD5-E247-984F-1800E2F8B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65083" y="6758840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BB66159-0C86-CC40-8FD2-F1F05952561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2858876"/>
            <a:ext cx="9647097" cy="23580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2257CEE-9935-6745-9033-A9A0291896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65083" y="5790650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5136590-A03F-F142-A3B8-7534CE9E8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5790650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606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9824244" y="1"/>
            <a:ext cx="9824244" cy="110521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3"/>
            <a:ext cx="8041060" cy="1467321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</a:t>
            </a:r>
            <a:br>
              <a:rPr lang="en-GB" dirty="0"/>
            </a:br>
            <a:r>
              <a:rPr lang="en-GB" dirty="0"/>
              <a:t>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983315-B305-1F47-8DD4-5DCE202073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88001" y="3189767"/>
            <a:ext cx="8041060" cy="6400801"/>
          </a:xfrm>
        </p:spPr>
        <p:txBody>
          <a:bodyPr numCol="1" spcCol="288000"/>
          <a:lstStyle>
            <a:lvl1pPr>
              <a:defRPr sz="2800"/>
            </a:lvl1pPr>
            <a:lvl2pPr>
              <a:defRPr sz="28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9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76328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- Title + Images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Title 16">
            <a:extLst>
              <a:ext uri="{FF2B5EF4-FFF2-40B4-BE49-F238E27FC236}">
                <a16:creationId xmlns:a16="http://schemas.microsoft.com/office/drawing/2014/main" id="{CE5D602C-92F1-8046-8D40-452912D91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105164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BB66159-0C86-CC40-8FD2-F1F05952561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5136590-A03F-F142-A3B8-7534CE9E8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5A3311B9-B2FD-9D41-8D3A-F349C873A6B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2497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3E27BC4B-F575-934B-9A18-9FE44E3C1A3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249942" y="2509566"/>
            <a:ext cx="6398544" cy="2466471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F33E71D5-A434-9248-9E8C-EB7000CC66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1086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DBC8D47-9DE1-2649-AFD4-13E5AF97D3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61085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DF36678-F34F-4E43-8826-2ADB4F5918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632007" y="6758840"/>
            <a:ext cx="4808762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7805606-3F61-D64D-9D87-A71F43F27E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632006" y="5790650"/>
            <a:ext cx="4808762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874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2" y="2"/>
            <a:ext cx="19648488" cy="432483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5" name="Title 16">
            <a:extLst>
              <a:ext uri="{FF2B5EF4-FFF2-40B4-BE49-F238E27FC236}">
                <a16:creationId xmlns:a16="http://schemas.microsoft.com/office/drawing/2014/main" id="{1FF5FAD5-3E9B-664D-9AF9-24EF345B99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4810860"/>
            <a:ext cx="15294466" cy="715227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33E6A55-F1AB-D94D-84D9-9072F18E61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1" y="6872722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A08EBCC-BCAE-4D4B-8C7B-68CD0FBA4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24244" y="6872722"/>
            <a:ext cx="7895406" cy="2358071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D5446A8-78B2-384E-B319-7885F37F20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24244" y="6012106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1FF4F1C-287D-A546-B5C8-79B3BAA766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8000" y="6012106"/>
            <a:ext cx="7895406" cy="628083"/>
          </a:xfrm>
        </p:spPr>
        <p:txBody>
          <a:bodyPr numCol="1" spcCol="288000"/>
          <a:lstStyle>
            <a:lvl1pPr>
              <a:defRPr sz="28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527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Content + Image (Combine with corresponding RIGH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824244" y="0"/>
            <a:ext cx="9824247" cy="1105217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188000" y="3125586"/>
            <a:ext cx="8219538" cy="670875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9" name="Title 16">
            <a:extLst>
              <a:ext uri="{FF2B5EF4-FFF2-40B4-BE49-F238E27FC236}">
                <a16:creationId xmlns:a16="http://schemas.microsoft.com/office/drawing/2014/main" id="{D9FFA49A-9266-9B42-98B4-108143BDF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8219538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742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Image + Content (combine with corresponding LEFT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6">
            <a:extLst>
              <a:ext uri="{FF2B5EF4-FFF2-40B4-BE49-F238E27FC236}">
                <a16:creationId xmlns:a16="http://schemas.microsoft.com/office/drawing/2014/main" id="{C563BF36-F2C2-644C-A5F2-F8C1A73881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5318613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3D4ACA-A6E4-2A44-91D1-CB813B6B858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32498" y="3125585"/>
            <a:ext cx="9433176" cy="670875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8564C25-6F66-9E49-94E6-F28EB56EAF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24244" y="3125586"/>
            <a:ext cx="8264251" cy="670875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1597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- Title +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4512503" y="6936941"/>
            <a:ext cx="5198506" cy="1138236"/>
          </a:xfrm>
        </p:spPr>
        <p:txBody>
          <a:bodyPr anchor="t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4" name="Picture Placeholder 6"/>
          <p:cNvSpPr>
            <a:spLocks noGrp="1" noChangeAspect="1"/>
          </p:cNvSpPr>
          <p:nvPr>
            <p:ph type="pic" sz="quarter" idx="18"/>
          </p:nvPr>
        </p:nvSpPr>
        <p:spPr>
          <a:xfrm>
            <a:off x="1185561" y="6912690"/>
            <a:ext cx="2939774" cy="11624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29"/>
          </p:nvPr>
        </p:nvSpPr>
        <p:spPr>
          <a:xfrm>
            <a:off x="1194624" y="8147148"/>
            <a:ext cx="14102086" cy="1295160"/>
          </a:xfrm>
        </p:spPr>
        <p:txBody>
          <a:bodyPr numCol="1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31"/>
          </p:nvPr>
        </p:nvSpPr>
        <p:spPr>
          <a:xfrm>
            <a:off x="10098204" y="6936941"/>
            <a:ext cx="5198506" cy="1138236"/>
          </a:xfrm>
        </p:spPr>
        <p:txBody>
          <a:bodyPr anchor="t"/>
          <a:lstStyle>
            <a:lvl1pPr algn="l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3"/>
          </p:nvPr>
        </p:nvSpPr>
        <p:spPr>
          <a:xfrm>
            <a:off x="4512503" y="3923321"/>
            <a:ext cx="5198506" cy="1180242"/>
          </a:xfrm>
        </p:spPr>
        <p:txBody>
          <a:bodyPr anchor="t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30" name="Picture Placeholder 6"/>
          <p:cNvSpPr>
            <a:spLocks noGrp="1" noChangeAspect="1"/>
          </p:cNvSpPr>
          <p:nvPr>
            <p:ph type="pic" sz="quarter" idx="34"/>
          </p:nvPr>
        </p:nvSpPr>
        <p:spPr>
          <a:xfrm>
            <a:off x="1186772" y="3937190"/>
            <a:ext cx="2939774" cy="11624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35" name="Text Placeholder 11"/>
          <p:cNvSpPr>
            <a:spLocks noGrp="1"/>
          </p:cNvSpPr>
          <p:nvPr>
            <p:ph type="body" sz="quarter" idx="35"/>
          </p:nvPr>
        </p:nvSpPr>
        <p:spPr>
          <a:xfrm>
            <a:off x="1194624" y="5175535"/>
            <a:ext cx="14102086" cy="1295160"/>
          </a:xfrm>
        </p:spPr>
        <p:txBody>
          <a:bodyPr numCol="1"/>
          <a:lstStyle>
            <a:lvl1pPr algn="l">
              <a:defRPr sz="16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36" name="Text Placeholder 11"/>
          <p:cNvSpPr>
            <a:spLocks noGrp="1"/>
          </p:cNvSpPr>
          <p:nvPr>
            <p:ph type="body" sz="quarter" idx="36"/>
          </p:nvPr>
        </p:nvSpPr>
        <p:spPr>
          <a:xfrm>
            <a:off x="10098204" y="3923321"/>
            <a:ext cx="5198506" cy="1180242"/>
          </a:xfrm>
        </p:spPr>
        <p:txBody>
          <a:bodyPr anchor="t"/>
          <a:lstStyle>
            <a:lvl1pPr algn="l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13" name="Title 16">
            <a:extLst>
              <a:ext uri="{FF2B5EF4-FFF2-40B4-BE49-F238E27FC236}">
                <a16:creationId xmlns:a16="http://schemas.microsoft.com/office/drawing/2014/main" id="{64BEBFA8-0374-ED4C-A349-0D111A0CC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4108710" cy="1762032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1125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188000" y="1064295"/>
            <a:ext cx="16513507" cy="1091049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AD4E6B-C2E1-0E4B-8FD2-9E7ACBBE45F9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0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90226D4D-BF9E-E346-8511-13DF4255000B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599271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0138CA97-467A-7340-8BC8-69CE44F1EE89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3198541" y="2644188"/>
            <a:ext cx="6449947" cy="25505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3071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7944" y="5526087"/>
            <a:ext cx="9162169" cy="2576114"/>
          </a:xfrm>
        </p:spPr>
        <p:txBody>
          <a:bodyPr numCol="1" spcCol="288000"/>
          <a:lstStyle>
            <a:lvl1pPr>
              <a:lnSpc>
                <a:spcPct val="90000"/>
              </a:lnSpc>
              <a:defRPr sz="54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ext </a:t>
            </a:r>
            <a:br>
              <a:rPr lang="en-GB" dirty="0"/>
            </a:br>
            <a:r>
              <a:rPr lang="en-GB" dirty="0"/>
              <a:t>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7945" y="4660688"/>
            <a:ext cx="6961522" cy="515388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41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7147479"/>
            <a:ext cx="6961522" cy="757072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60469" y="7147479"/>
            <a:ext cx="6961522" cy="757072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7904550"/>
            <a:ext cx="6961522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60469" y="7904550"/>
            <a:ext cx="6961522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B871EA9-E646-7247-B4C4-3FE4924001F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187451" y="2806995"/>
            <a:ext cx="6961522" cy="391401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Рисунок 2">
            <a:extLst>
              <a:ext uri="{FF2B5EF4-FFF2-40B4-BE49-F238E27FC236}">
                <a16:creationId xmlns:a16="http://schemas.microsoft.com/office/drawing/2014/main" id="{E715BAC9-C169-2D41-9722-6642543ADEC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1060468" y="2806995"/>
            <a:ext cx="6961522" cy="391401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6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7604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4405751"/>
            <a:ext cx="3749760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6908" y="4405751"/>
            <a:ext cx="3916015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7FFFD7D-E191-F24B-B542-4F8AF4F7C1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992071" y="4405751"/>
            <a:ext cx="3916015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6118173"/>
            <a:ext cx="3749760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06908" y="6118173"/>
            <a:ext cx="3916015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9B85105-3309-5542-932C-25969B0D8D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992071" y="6118173"/>
            <a:ext cx="3916015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7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1740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66BCB01-C20A-EC46-8D85-0850CEFFBF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88000" y="4405751"/>
            <a:ext cx="5731938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BB4EBB1-C3A0-F245-87E2-802F08FB1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2937" y="4405751"/>
            <a:ext cx="5986078" cy="1446411"/>
          </a:xfrm>
        </p:spPr>
        <p:txBody>
          <a:bodyPr numCol="1" spcCol="288000"/>
          <a:lstStyle>
            <a:lvl1pPr>
              <a:defRPr sz="3200" b="1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02A8190-FFA1-5B4D-95A1-03E8F59A50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8000" y="6118173"/>
            <a:ext cx="5731938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41D4E39-B222-F74C-B834-204098BE2B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22937" y="6118173"/>
            <a:ext cx="5986078" cy="1446411"/>
          </a:xfrm>
        </p:spPr>
        <p:txBody>
          <a:bodyPr numCol="1" spcCol="288000"/>
          <a:lstStyle>
            <a:lvl1pPr>
              <a:defRPr sz="2400" b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93386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IGHT - Full Bleed Image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>
            <a:spLocks noGrp="1"/>
          </p:cNvSpPr>
          <p:nvPr>
            <p:ph type="title" hasCustomPrompt="1"/>
          </p:nvPr>
        </p:nvSpPr>
        <p:spPr>
          <a:xfrm>
            <a:off x="1188001" y="999434"/>
            <a:ext cx="16833992" cy="663112"/>
          </a:xfrm>
          <a:solidFill>
            <a:schemeClr val="bg1"/>
          </a:solidFill>
        </p:spPr>
        <p:txBody>
          <a:bodyPr lIns="0" bIns="108000" anchor="t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86AE87B-F4D2-7544-A163-70638DA9AC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88000" y="1701214"/>
            <a:ext cx="16833991" cy="515388"/>
          </a:xfrm>
        </p:spPr>
        <p:txBody>
          <a:bodyPr numCol="1" spcCol="288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" name="Диаграмма 2">
            <a:extLst>
              <a:ext uri="{FF2B5EF4-FFF2-40B4-BE49-F238E27FC236}">
                <a16:creationId xmlns:a16="http://schemas.microsoft.com/office/drawing/2014/main" id="{CEEB06CA-F7E8-184E-BA4B-8E56BBA2D014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188000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7" name="Диаграмма 2">
            <a:extLst>
              <a:ext uri="{FF2B5EF4-FFF2-40B4-BE49-F238E27FC236}">
                <a16:creationId xmlns:a16="http://schemas.microsoft.com/office/drawing/2014/main" id="{64C08545-C1A5-6446-AFA4-D10252C25C6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823255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8" name="Диаграмма 2">
            <a:extLst>
              <a:ext uri="{FF2B5EF4-FFF2-40B4-BE49-F238E27FC236}">
                <a16:creationId xmlns:a16="http://schemas.microsoft.com/office/drawing/2014/main" id="{2354A7B8-3A1F-EB4D-99D9-F6EB039C0B3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2458510" y="3572688"/>
            <a:ext cx="5234066" cy="53161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5020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-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188001" y="2617650"/>
            <a:ext cx="8232004" cy="7016267"/>
          </a:xfrm>
        </p:spPr>
        <p:txBody>
          <a:bodyPr numCol="1" spcCol="288000"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1188000" y="1064295"/>
            <a:ext cx="13926122" cy="1363021"/>
          </a:xfrm>
        </p:spPr>
        <p:txBody>
          <a:bodyPr anchor="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14"/>
          <p:cNvSpPr txBox="1">
            <a:spLocks/>
          </p:cNvSpPr>
          <p:nvPr userDrawn="1"/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3" rtl="0" eaLnBrk="1" latinLnBrk="0" hangingPunct="1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6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3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9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5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81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8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14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30" algn="l" defTabSz="992033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6130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042413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47" imgH="348" progId="TCLayout.ActiveDocument.1">
                  <p:embed/>
                </p:oleObj>
              </mc:Choice>
              <mc:Fallback>
                <p:oleObj name="Слайд think-cell" r:id="rId2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8000" y="1064295"/>
            <a:ext cx="16513507" cy="12457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88000" y="2617650"/>
            <a:ext cx="16513507" cy="7016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grpSp>
        <p:nvGrpSpPr>
          <p:cNvPr id="53" name="Group 52"/>
          <p:cNvGrpSpPr/>
          <p:nvPr userDrawn="1"/>
        </p:nvGrpSpPr>
        <p:grpSpPr>
          <a:xfrm>
            <a:off x="0" y="18779"/>
            <a:ext cx="19648488" cy="11051325"/>
            <a:chOff x="0" y="790"/>
            <a:chExt cx="7218363" cy="9504366"/>
          </a:xfrm>
          <a:solidFill>
            <a:schemeClr val="bg1">
              <a:lumMod val="95000"/>
            </a:schemeClr>
          </a:solidFill>
        </p:grpSpPr>
        <p:sp>
          <p:nvSpPr>
            <p:cNvPr id="54" name="Rectangle 53"/>
            <p:cNvSpPr/>
            <p:nvPr userDrawn="1"/>
          </p:nvSpPr>
          <p:spPr bwMode="auto">
            <a:xfrm>
              <a:off x="0" y="793"/>
              <a:ext cx="180000" cy="95043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5" name="Rectangle 54"/>
            <p:cNvSpPr/>
            <p:nvPr userDrawn="1"/>
          </p:nvSpPr>
          <p:spPr bwMode="auto">
            <a:xfrm>
              <a:off x="7038363" y="793"/>
              <a:ext cx="180000" cy="95043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179999" y="790"/>
              <a:ext cx="6858363" cy="16662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179997" y="9338529"/>
              <a:ext cx="6858363" cy="16662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</p:grpSp>
      <p:sp>
        <p:nvSpPr>
          <p:cNvPr id="66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17585847" y="10688830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lang="en-GB" sz="1400" b="0" i="1" kern="800" cap="all" spc="215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776975">
              <a:spcBef>
                <a:spcPts val="170"/>
              </a:spcBef>
              <a:spcAft>
                <a:spcPts val="170"/>
              </a:spcAft>
            </a:pPr>
            <a:fld id="{D9EAD0B0-4695-4BA0-91BD-50156A1C2AF4}" type="slidenum">
              <a:rPr lang="uk-UA" smtClean="0"/>
              <a:pPr defTabSz="776975">
                <a:spcBef>
                  <a:spcPts val="170"/>
                </a:spcBef>
                <a:spcAft>
                  <a:spcPts val="170"/>
                </a:spcAft>
              </a:pPr>
              <a:t>‹#›</a:t>
            </a:fld>
            <a:endParaRPr lang="uk-UA" dirty="0"/>
          </a:p>
        </p:txBody>
      </p:sp>
      <p:sp>
        <p:nvSpPr>
          <p:cNvPr id="61" name="Полилиния 60">
            <a:extLst>
              <a:ext uri="{FF2B5EF4-FFF2-40B4-BE49-F238E27FC236}">
                <a16:creationId xmlns:a16="http://schemas.microsoft.com/office/drawing/2014/main" id="{C1537F55-C8E7-4C43-92C6-4DB20DC3FC3B}"/>
              </a:ext>
            </a:extLst>
          </p:cNvPr>
          <p:cNvSpPr/>
          <p:nvPr userDrawn="1"/>
        </p:nvSpPr>
        <p:spPr>
          <a:xfrm rot="2700000">
            <a:off x="17586261" y="10660128"/>
            <a:ext cx="784091" cy="784091"/>
          </a:xfrm>
          <a:custGeom>
            <a:avLst/>
            <a:gdLst>
              <a:gd name="connsiteX0" fmla="*/ 0 w 784091"/>
              <a:gd name="connsiteY0" fmla="*/ 0 h 784091"/>
              <a:gd name="connsiteX1" fmla="*/ 784091 w 784091"/>
              <a:gd name="connsiteY1" fmla="*/ 0 h 784091"/>
              <a:gd name="connsiteX2" fmla="*/ 784091 w 784091"/>
              <a:gd name="connsiteY2" fmla="*/ 3 h 784091"/>
              <a:gd name="connsiteX3" fmla="*/ 3 w 784091"/>
              <a:gd name="connsiteY3" fmla="*/ 784091 h 784091"/>
              <a:gd name="connsiteX4" fmla="*/ 0 w 784091"/>
              <a:gd name="connsiteY4" fmla="*/ 784091 h 78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091" h="784091">
                <a:moveTo>
                  <a:pt x="0" y="0"/>
                </a:moveTo>
                <a:lnTo>
                  <a:pt x="784091" y="0"/>
                </a:lnTo>
                <a:lnTo>
                  <a:pt x="784091" y="3"/>
                </a:lnTo>
                <a:lnTo>
                  <a:pt x="3" y="784091"/>
                </a:lnTo>
                <a:lnTo>
                  <a:pt x="0" y="784091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0436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0" r:id="rId2"/>
    <p:sldLayoutId id="2147483675" r:id="rId3"/>
    <p:sldLayoutId id="2147483678" r:id="rId4"/>
    <p:sldLayoutId id="2147483680" r:id="rId5"/>
    <p:sldLayoutId id="2147483676" r:id="rId6"/>
    <p:sldLayoutId id="2147483681" r:id="rId7"/>
    <p:sldLayoutId id="2147483679" r:id="rId8"/>
    <p:sldLayoutId id="2147483651" r:id="rId9"/>
    <p:sldLayoutId id="2147483652" r:id="rId10"/>
    <p:sldLayoutId id="2147483677" r:id="rId11"/>
    <p:sldLayoutId id="2147483653" r:id="rId12"/>
    <p:sldLayoutId id="2147483655" r:id="rId13"/>
    <p:sldLayoutId id="2147483656" r:id="rId14"/>
    <p:sldLayoutId id="2147483657" r:id="rId15"/>
    <p:sldLayoutId id="2147483663" r:id="rId16"/>
    <p:sldLayoutId id="2147483703" r:id="rId17"/>
    <p:sldLayoutId id="2147483706" r:id="rId18"/>
    <p:sldLayoutId id="2147483707" r:id="rId1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776975" rtl="0" eaLnBrk="1" latinLnBrk="0" hangingPunct="1">
        <a:lnSpc>
          <a:spcPct val="90000"/>
        </a:lnSpc>
        <a:spcBef>
          <a:spcPct val="0"/>
        </a:spcBef>
        <a:buNone/>
        <a:defRPr lang="en-GB" sz="4400" b="1" i="0" kern="800" cap="all" spc="108" baseline="0" dirty="0">
          <a:solidFill>
            <a:schemeClr val="tx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0" indent="0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Font typeface="Arial" panose="020B0604020202020204" pitchFamily="34" charset="0"/>
        <a:buNone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5247" indent="-145247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Clr>
          <a:schemeClr val="accent2"/>
        </a:buClr>
        <a:buSzPct val="120000"/>
        <a:buFont typeface="Arial" charset="0"/>
        <a:buChar char="•"/>
        <a:tabLst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341757" indent="-187966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Clr>
          <a:schemeClr val="accent2"/>
        </a:buClr>
        <a:buFont typeface="Geometr415 Lt BT" panose="020B0502020204020303" pitchFamily="34" charset="0"/>
        <a:buChar char="−"/>
        <a:tabLst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607012" indent="-226618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Geometr415 Lt BT" panose="020B0502020204020303" pitchFamily="34" charset="0"/>
        <a:buChar char="−"/>
        <a:defRPr sz="1800" kern="800" cap="none" spc="54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0" indent="0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0" kern="800" cap="all" spc="54" baseline="0">
          <a:solidFill>
            <a:schemeClr val="accent3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0" indent="0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i="1" kern="800" cap="none" spc="54" baseline="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6pPr>
      <a:lvl7pPr marL="2525169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13657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02143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488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6975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462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3950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2437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0925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19413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7899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90">
          <p15:clr>
            <a:srgbClr val="F26B43"/>
          </p15:clr>
        </p15:guide>
        <p15:guide id="3" pos="10633">
          <p15:clr>
            <a:srgbClr val="F26B43"/>
          </p15:clr>
        </p15:guide>
        <p15:guide id="6" pos="1744">
          <p15:clr>
            <a:srgbClr val="F26B43"/>
          </p15:clr>
        </p15:guide>
        <p15:guide id="10" orient="horz" pos="6833">
          <p15:clr>
            <a:srgbClr val="F26B43"/>
          </p15:clr>
        </p15:guide>
        <p15:guide id="11" pos="310">
          <p15:clr>
            <a:srgbClr val="F26B43"/>
          </p15:clr>
        </p15:guide>
        <p15:guide id="12" orient="horz" pos="117">
          <p15:clr>
            <a:srgbClr val="F26B43"/>
          </p15:clr>
        </p15:guide>
        <p15:guide id="13" pos="12064">
          <p15:clr>
            <a:srgbClr val="F26B43"/>
          </p15:clr>
        </p15:guide>
        <p15:guide id="14" orient="horz" pos="503">
          <p15:clr>
            <a:srgbClr val="F26B43"/>
          </p15:clr>
        </p15:guide>
        <p15:guide id="15" orient="horz" pos="6459">
          <p15:clr>
            <a:srgbClr val="F26B43"/>
          </p15:clr>
        </p15:guide>
        <p15:guide id="16" orient="horz" pos="1988">
          <p15:clr>
            <a:srgbClr val="F26B43"/>
          </p15:clr>
        </p15:guide>
        <p15:guide id="17" orient="horz" pos="3473">
          <p15:clr>
            <a:srgbClr val="F26B43"/>
          </p15:clr>
        </p15:guide>
        <p15:guide id="18" orient="horz" pos="4960">
          <p15:clr>
            <a:srgbClr val="F26B43"/>
          </p15:clr>
        </p15:guide>
        <p15:guide id="21" orient="horz" pos="1235">
          <p15:clr>
            <a:srgbClr val="F26B43"/>
          </p15:clr>
        </p15:guide>
        <p15:guide id="22" orient="horz" pos="2724">
          <p15:clr>
            <a:srgbClr val="F26B43"/>
          </p15:clr>
        </p15:guide>
        <p15:guide id="23" orient="horz" pos="4213">
          <p15:clr>
            <a:srgbClr val="F26B43"/>
          </p15:clr>
        </p15:guide>
        <p15:guide id="24" orient="horz" pos="5703">
          <p15:clr>
            <a:srgbClr val="F26B43"/>
          </p15:clr>
        </p15:guide>
        <p15:guide id="25" pos="6435">
          <p15:clr>
            <a:srgbClr val="F26B43"/>
          </p15:clr>
        </p15:guide>
        <p15:guide id="26" pos="5942">
          <p15:clr>
            <a:srgbClr val="F26B43"/>
          </p15:clr>
        </p15:guide>
        <p15:guide id="27" orient="horz" pos="6069">
          <p15:clr>
            <a:srgbClr val="F26B43"/>
          </p15:clr>
        </p15:guide>
        <p15:guide id="28" pos="3967">
          <p15:clr>
            <a:srgbClr val="F26B43"/>
          </p15:clr>
        </p15:guide>
        <p15:guide id="29" pos="8410">
          <p15:clr>
            <a:srgbClr val="F26B43"/>
          </p15:clr>
        </p15:guide>
        <p15:guide id="30" pos="1250">
          <p15:clr>
            <a:srgbClr val="F26B43"/>
          </p15:clr>
        </p15:guide>
        <p15:guide id="31" pos="111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5712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0" imgW="347" imgH="348" progId="TCLayout.ActiveDocument.1">
                  <p:embed/>
                </p:oleObj>
              </mc:Choice>
              <mc:Fallback>
                <p:oleObj name="Слайд think-cell" r:id="rId2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1" i="0" baseline="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8000" y="1064295"/>
            <a:ext cx="16513507" cy="1245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88000" y="2617650"/>
            <a:ext cx="16513507" cy="7016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grpSp>
        <p:nvGrpSpPr>
          <p:cNvPr id="53" name="Group 52"/>
          <p:cNvGrpSpPr/>
          <p:nvPr userDrawn="1"/>
        </p:nvGrpSpPr>
        <p:grpSpPr>
          <a:xfrm>
            <a:off x="0" y="18779"/>
            <a:ext cx="19648488" cy="11051325"/>
            <a:chOff x="0" y="790"/>
            <a:chExt cx="7218363" cy="9504366"/>
          </a:xfrm>
          <a:solidFill>
            <a:schemeClr val="bg1">
              <a:lumMod val="95000"/>
            </a:schemeClr>
          </a:solidFill>
        </p:grpSpPr>
        <p:sp>
          <p:nvSpPr>
            <p:cNvPr id="54" name="Rectangle 53"/>
            <p:cNvSpPr/>
            <p:nvPr userDrawn="1"/>
          </p:nvSpPr>
          <p:spPr bwMode="auto">
            <a:xfrm>
              <a:off x="0" y="793"/>
              <a:ext cx="180000" cy="95043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5" name="Rectangle 54"/>
            <p:cNvSpPr/>
            <p:nvPr userDrawn="1"/>
          </p:nvSpPr>
          <p:spPr bwMode="auto">
            <a:xfrm>
              <a:off x="7038363" y="793"/>
              <a:ext cx="180000" cy="95043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179999" y="790"/>
              <a:ext cx="6858363" cy="16662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179997" y="9338529"/>
              <a:ext cx="6858363" cy="16662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483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722" b="1" i="0" u="none" strike="noStrike" cap="none" normalizeH="0" baseline="0" dirty="0">
                <a:ln>
                  <a:noFill/>
                </a:ln>
                <a:solidFill>
                  <a:srgbClr val="FFD700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9674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776975" rtl="0" eaLnBrk="1" latinLnBrk="0" hangingPunct="1">
        <a:lnSpc>
          <a:spcPct val="90000"/>
        </a:lnSpc>
        <a:spcBef>
          <a:spcPct val="0"/>
        </a:spcBef>
        <a:buNone/>
        <a:defRPr lang="en-GB" sz="4400" b="1" i="0" kern="800" cap="all" spc="108" baseline="0" dirty="0">
          <a:solidFill>
            <a:schemeClr val="tx2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0" indent="0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Font typeface="Arial" panose="020B0604020202020204" pitchFamily="34" charset="0"/>
        <a:buNone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5247" indent="-145247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Clr>
          <a:schemeClr val="accent2"/>
        </a:buClr>
        <a:buSzPct val="120000"/>
        <a:buFont typeface="Arial" charset="0"/>
        <a:buChar char="•"/>
        <a:tabLst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341757" indent="-187966" algn="l" defTabSz="776975" rtl="0" eaLnBrk="1" latinLnBrk="0" hangingPunct="1">
        <a:lnSpc>
          <a:spcPct val="110000"/>
        </a:lnSpc>
        <a:spcBef>
          <a:spcPts val="170"/>
        </a:spcBef>
        <a:spcAft>
          <a:spcPts val="1200"/>
        </a:spcAft>
        <a:buClr>
          <a:schemeClr val="accent2"/>
        </a:buClr>
        <a:buFont typeface="Geometr415 Lt BT" panose="020B0502020204020303" pitchFamily="34" charset="0"/>
        <a:buChar char="−"/>
        <a:tabLst/>
        <a:defRPr sz="1800" kern="800" spc="54">
          <a:solidFill>
            <a:schemeClr val="tx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607012" indent="-226618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Geometr415 Lt BT" panose="020B0502020204020303" pitchFamily="34" charset="0"/>
        <a:buChar char="−"/>
        <a:defRPr sz="1800" kern="800" cap="none" spc="54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0" indent="0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0" kern="800" cap="all" spc="54" baseline="0">
          <a:solidFill>
            <a:schemeClr val="accent3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0" indent="0" algn="l" defTabSz="776975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i="1" kern="800" cap="none" spc="54" baseline="0">
          <a:solidFill>
            <a:schemeClr val="accent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6pPr>
      <a:lvl7pPr marL="2525169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13657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02143" indent="-194244" algn="l" defTabSz="77697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488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6975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462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3950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2437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0925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19413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7899" algn="l" defTabSz="776975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190">
          <p15:clr>
            <a:srgbClr val="F26B43"/>
          </p15:clr>
        </p15:guide>
        <p15:guide id="3" pos="10633">
          <p15:clr>
            <a:srgbClr val="F26B43"/>
          </p15:clr>
        </p15:guide>
        <p15:guide id="6" pos="1744">
          <p15:clr>
            <a:srgbClr val="F26B43"/>
          </p15:clr>
        </p15:guide>
        <p15:guide id="10" orient="horz" pos="6833">
          <p15:clr>
            <a:srgbClr val="F26B43"/>
          </p15:clr>
        </p15:guide>
        <p15:guide id="11" pos="310">
          <p15:clr>
            <a:srgbClr val="F26B43"/>
          </p15:clr>
        </p15:guide>
        <p15:guide id="12" orient="horz" pos="117">
          <p15:clr>
            <a:srgbClr val="F26B43"/>
          </p15:clr>
        </p15:guide>
        <p15:guide id="13" pos="12064">
          <p15:clr>
            <a:srgbClr val="F26B43"/>
          </p15:clr>
        </p15:guide>
        <p15:guide id="14" orient="horz" pos="503">
          <p15:clr>
            <a:srgbClr val="F26B43"/>
          </p15:clr>
        </p15:guide>
        <p15:guide id="15" orient="horz" pos="6459">
          <p15:clr>
            <a:srgbClr val="F26B43"/>
          </p15:clr>
        </p15:guide>
        <p15:guide id="16" orient="horz" pos="1988">
          <p15:clr>
            <a:srgbClr val="F26B43"/>
          </p15:clr>
        </p15:guide>
        <p15:guide id="17" orient="horz" pos="3473">
          <p15:clr>
            <a:srgbClr val="F26B43"/>
          </p15:clr>
        </p15:guide>
        <p15:guide id="18" orient="horz" pos="4960">
          <p15:clr>
            <a:srgbClr val="F26B43"/>
          </p15:clr>
        </p15:guide>
        <p15:guide id="21" orient="horz" pos="1235">
          <p15:clr>
            <a:srgbClr val="F26B43"/>
          </p15:clr>
        </p15:guide>
        <p15:guide id="22" orient="horz" pos="2724">
          <p15:clr>
            <a:srgbClr val="F26B43"/>
          </p15:clr>
        </p15:guide>
        <p15:guide id="23" orient="horz" pos="4213">
          <p15:clr>
            <a:srgbClr val="F26B43"/>
          </p15:clr>
        </p15:guide>
        <p15:guide id="24" orient="horz" pos="5703">
          <p15:clr>
            <a:srgbClr val="F26B43"/>
          </p15:clr>
        </p15:guide>
        <p15:guide id="25" pos="6435">
          <p15:clr>
            <a:srgbClr val="F26B43"/>
          </p15:clr>
        </p15:guide>
        <p15:guide id="26" pos="5942">
          <p15:clr>
            <a:srgbClr val="F26B43"/>
          </p15:clr>
        </p15:guide>
        <p15:guide id="27" orient="horz" pos="6069">
          <p15:clr>
            <a:srgbClr val="F26B43"/>
          </p15:clr>
        </p15:guide>
        <p15:guide id="28" pos="3967">
          <p15:clr>
            <a:srgbClr val="F26B43"/>
          </p15:clr>
        </p15:guide>
        <p15:guide id="29" pos="8410">
          <p15:clr>
            <a:srgbClr val="F26B43"/>
          </p15:clr>
        </p15:guide>
        <p15:guide id="30" pos="1250">
          <p15:clr>
            <a:srgbClr val="F26B43"/>
          </p15:clr>
        </p15:guide>
        <p15:guide id="31" pos="111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" Target="slide21.xml"/><Relationship Id="rId3" Type="http://schemas.openxmlformats.org/officeDocument/2006/relationships/slide" Target="slide15.xml"/><Relationship Id="rId7" Type="http://schemas.openxmlformats.org/officeDocument/2006/relationships/image" Target="../media/image8.svg"/><Relationship Id="rId2" Type="http://schemas.openxmlformats.org/officeDocument/2006/relationships/slide" Target="slide20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png"/><Relationship Id="rId5" Type="http://schemas.openxmlformats.org/officeDocument/2006/relationships/slide" Target="slide18.xml"/><Relationship Id="rId4" Type="http://schemas.openxmlformats.org/officeDocument/2006/relationships/slide" Target="slide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16.xml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png"/><Relationship Id="rId5" Type="http://schemas.openxmlformats.org/officeDocument/2006/relationships/slide" Target="slide14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" Target="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14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12" Type="http://schemas.openxmlformats.org/officeDocument/2006/relationships/slide" Target="slide22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21.png"/><Relationship Id="rId5" Type="http://schemas.openxmlformats.org/officeDocument/2006/relationships/diagramQuickStyle" Target="../diagrams/quickStyle6.xml"/><Relationship Id="rId10" Type="http://schemas.openxmlformats.org/officeDocument/2006/relationships/image" Target="../media/image8.svg"/><Relationship Id="rId4" Type="http://schemas.openxmlformats.org/officeDocument/2006/relationships/diagramLayout" Target="../diagrams/layout6.xml"/><Relationship Id="rId9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openxmlformats.org/officeDocument/2006/relationships/image" Target="../media/image8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7.xml"/><Relationship Id="rId11" Type="http://schemas.openxmlformats.org/officeDocument/2006/relationships/image" Target="../media/image7.png"/><Relationship Id="rId5" Type="http://schemas.openxmlformats.org/officeDocument/2006/relationships/diagramQuickStyle" Target="../diagrams/quickStyle7.xml"/><Relationship Id="rId10" Type="http://schemas.openxmlformats.org/officeDocument/2006/relationships/slide" Target="slide14.xml"/><Relationship Id="rId4" Type="http://schemas.openxmlformats.org/officeDocument/2006/relationships/diagramLayout" Target="../diagrams/layout7.xml"/><Relationship Id="rId9" Type="http://schemas.openxmlformats.org/officeDocument/2006/relationships/slide" Target="slide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13" Type="http://schemas.microsoft.com/office/2007/relationships/diagramDrawing" Target="../diagrams/drawing9.xml"/><Relationship Id="rId18" Type="http://schemas.microsoft.com/office/2007/relationships/diagramDrawing" Target="../diagrams/drawing10.xml"/><Relationship Id="rId3" Type="http://schemas.openxmlformats.org/officeDocument/2006/relationships/image" Target="../media/image25.png"/><Relationship Id="rId21" Type="http://schemas.openxmlformats.org/officeDocument/2006/relationships/image" Target="../media/image8.svg"/><Relationship Id="rId7" Type="http://schemas.openxmlformats.org/officeDocument/2006/relationships/diagramColors" Target="../diagrams/colors8.xml"/><Relationship Id="rId12" Type="http://schemas.openxmlformats.org/officeDocument/2006/relationships/diagramColors" Target="../diagrams/colors9.xml"/><Relationship Id="rId17" Type="http://schemas.openxmlformats.org/officeDocument/2006/relationships/diagramColors" Target="../diagrams/colors10.xml"/><Relationship Id="rId2" Type="http://schemas.openxmlformats.org/officeDocument/2006/relationships/image" Target="../media/image24.png"/><Relationship Id="rId16" Type="http://schemas.openxmlformats.org/officeDocument/2006/relationships/diagramQuickStyle" Target="../diagrams/quickStyle10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18.xml"/><Relationship Id="rId6" Type="http://schemas.openxmlformats.org/officeDocument/2006/relationships/diagramQuickStyle" Target="../diagrams/quickStyle8.xml"/><Relationship Id="rId11" Type="http://schemas.openxmlformats.org/officeDocument/2006/relationships/diagramQuickStyle" Target="../diagrams/quickStyle9.xml"/><Relationship Id="rId5" Type="http://schemas.openxmlformats.org/officeDocument/2006/relationships/diagramLayout" Target="../diagrams/layout8.xml"/><Relationship Id="rId15" Type="http://schemas.openxmlformats.org/officeDocument/2006/relationships/diagramLayout" Target="../diagrams/layout10.xml"/><Relationship Id="rId10" Type="http://schemas.openxmlformats.org/officeDocument/2006/relationships/diagramLayout" Target="../diagrams/layout9.xml"/><Relationship Id="rId19" Type="http://schemas.openxmlformats.org/officeDocument/2006/relationships/slide" Target="slide14.xml"/><Relationship Id="rId4" Type="http://schemas.openxmlformats.org/officeDocument/2006/relationships/diagramData" Target="../diagrams/data8.xml"/><Relationship Id="rId9" Type="http://schemas.openxmlformats.org/officeDocument/2006/relationships/diagramData" Target="../diagrams/data9.xml"/><Relationship Id="rId14" Type="http://schemas.openxmlformats.org/officeDocument/2006/relationships/diagramData" Target="../diagrams/data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1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png"/><Relationship Id="rId5" Type="http://schemas.openxmlformats.org/officeDocument/2006/relationships/chart" Target="../charts/chart1.xml"/><Relationship Id="rId4" Type="http://schemas.openxmlformats.org/officeDocument/2006/relationships/image" Target="../media/image8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1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8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1.xml"/><Relationship Id="rId13" Type="http://schemas.openxmlformats.org/officeDocument/2006/relationships/diagramColors" Target="../diagrams/colors12.xml"/><Relationship Id="rId3" Type="http://schemas.openxmlformats.org/officeDocument/2006/relationships/image" Target="../media/image7.png"/><Relationship Id="rId7" Type="http://schemas.openxmlformats.org/officeDocument/2006/relationships/diagramQuickStyle" Target="../diagrams/quickStyle11.xml"/><Relationship Id="rId12" Type="http://schemas.openxmlformats.org/officeDocument/2006/relationships/diagramQuickStyle" Target="../diagrams/quickStyle12.xml"/><Relationship Id="rId2" Type="http://schemas.openxmlformats.org/officeDocument/2006/relationships/slide" Target="slide14.xml"/><Relationship Id="rId1" Type="http://schemas.openxmlformats.org/officeDocument/2006/relationships/slideLayout" Target="../slideLayouts/slideLayout18.xml"/><Relationship Id="rId6" Type="http://schemas.openxmlformats.org/officeDocument/2006/relationships/diagramLayout" Target="../diagrams/layout11.xml"/><Relationship Id="rId11" Type="http://schemas.openxmlformats.org/officeDocument/2006/relationships/diagramLayout" Target="../diagrams/layout12.xml"/><Relationship Id="rId5" Type="http://schemas.openxmlformats.org/officeDocument/2006/relationships/diagramData" Target="../diagrams/data11.xml"/><Relationship Id="rId10" Type="http://schemas.openxmlformats.org/officeDocument/2006/relationships/diagramData" Target="../diagrams/data12.xml"/><Relationship Id="rId4" Type="http://schemas.openxmlformats.org/officeDocument/2006/relationships/image" Target="../media/image8.svg"/><Relationship Id="rId9" Type="http://schemas.microsoft.com/office/2007/relationships/diagramDrawing" Target="../diagrams/drawing11.xml"/><Relationship Id="rId14" Type="http://schemas.microsoft.com/office/2007/relationships/diagramDrawing" Target="../diagrams/drawing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Layout" Target="../diagrams/layout5.xml"/><Relationship Id="rId7" Type="http://schemas.openxmlformats.org/officeDocument/2006/relationships/image" Target="../media/image9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10" Type="http://schemas.openxmlformats.org/officeDocument/2006/relationships/image" Target="../media/image12.svg"/><Relationship Id="rId4" Type="http://schemas.openxmlformats.org/officeDocument/2006/relationships/diagramQuickStyle" Target="../diagrams/quickStyle5.xml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Человек, держащий синюю шариковую ручку на белом ноутбуке">
            <a:extLst>
              <a:ext uri="{FF2B5EF4-FFF2-40B4-BE49-F238E27FC236}">
                <a16:creationId xmlns:a16="http://schemas.microsoft.com/office/drawing/2014/main" id="{6BFD7B4B-F08F-4DA8-8074-23CFD82B37A5}"/>
              </a:ext>
            </a:extLst>
          </p:cNvPr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50" b="7550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2">
            <a:extLst>
              <a:ext uri="{FF2B5EF4-FFF2-40B4-BE49-F238E27FC236}">
                <a16:creationId xmlns:a16="http://schemas.microsoft.com/office/drawing/2014/main" id="{873253B6-EFF5-4949-9F16-C13848D36986}"/>
              </a:ext>
            </a:extLst>
          </p:cNvPr>
          <p:cNvSpPr/>
          <p:nvPr/>
        </p:nvSpPr>
        <p:spPr>
          <a:xfrm rot="5400000">
            <a:off x="4271402" y="-4324873"/>
            <a:ext cx="11063852" cy="19690144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6000"/>
                  <a:lumMod val="75000"/>
                  <a:lumOff val="25000"/>
                </a:schemeClr>
              </a:gs>
              <a:gs pos="100000">
                <a:schemeClr val="accent1">
                  <a:lumMod val="88000"/>
                  <a:lumOff val="12000"/>
                  <a:alpha val="19000"/>
                </a:schemeClr>
              </a:gs>
            </a:gsLst>
            <a:lin ang="0" scaled="0"/>
            <a:tileRect/>
          </a:gradFill>
          <a:ln w="101600"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800" b="1" dirty="0">
              <a:latin typeface="Pragmatica Light" panose="020B0403040502020204" pitchFamily="34" charset="-5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8843544" y="10107571"/>
            <a:ext cx="804856" cy="2889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92030" rtl="0" eaLnBrk="1" latinLnBrk="0" hangingPunct="1">
              <a:lnSpc>
                <a:spcPct val="100000"/>
              </a:lnSpc>
              <a:defRPr lang="en-GB" sz="861" b="0" i="1" kern="800" cap="all" spc="214" baseline="0" smtClean="0">
                <a:solidFill>
                  <a:schemeClr val="tx2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96015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2030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8045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84060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0075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092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72107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8122" algn="l" defTabSz="992030" rtl="0" eaLnBrk="1" latinLnBrk="0" hangingPunct="1">
              <a:defRPr sz="19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77051">
              <a:spcBef>
                <a:spcPts val="169"/>
              </a:spcBef>
              <a:spcAft>
                <a:spcPts val="169"/>
              </a:spcAft>
            </a:pPr>
            <a:fld id="{D9EAD0B0-4695-4BA0-91BD-50156A1C2AF4}" type="slidenum">
              <a:rPr lang="uk-UA" smtClean="0"/>
              <a:pPr defTabSz="777051">
                <a:spcBef>
                  <a:spcPts val="169"/>
                </a:spcBef>
                <a:spcAft>
                  <a:spcPts val="169"/>
                </a:spcAft>
              </a:pPr>
              <a:t>1</a:t>
            </a:fld>
            <a:endParaRPr lang="uk-UA" dirty="0"/>
          </a:p>
        </p:txBody>
      </p:sp>
      <p:sp>
        <p:nvSpPr>
          <p:cNvPr id="29" name="Полилиния 28">
            <a:extLst>
              <a:ext uri="{FF2B5EF4-FFF2-40B4-BE49-F238E27FC236}">
                <a16:creationId xmlns:a16="http://schemas.microsoft.com/office/drawing/2014/main" id="{814A1A57-92B9-BE4A-852A-FB879CF85579}"/>
              </a:ext>
            </a:extLst>
          </p:cNvPr>
          <p:cNvSpPr/>
          <p:nvPr/>
        </p:nvSpPr>
        <p:spPr>
          <a:xfrm>
            <a:off x="1595542" y="8632590"/>
            <a:ext cx="4749306" cy="885881"/>
          </a:xfrm>
          <a:custGeom>
            <a:avLst/>
            <a:gdLst>
              <a:gd name="connsiteX0" fmla="*/ 0 w 10788850"/>
              <a:gd name="connsiteY0" fmla="*/ 0 h 732139"/>
              <a:gd name="connsiteX1" fmla="*/ 10788850 w 10788850"/>
              <a:gd name="connsiteY1" fmla="*/ 0 h 732139"/>
              <a:gd name="connsiteX2" fmla="*/ 10788850 w 10788850"/>
              <a:gd name="connsiteY2" fmla="*/ 732139 h 732139"/>
              <a:gd name="connsiteX3" fmla="*/ 0 w 10788850"/>
              <a:gd name="connsiteY3" fmla="*/ 732139 h 732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88850" h="732139">
                <a:moveTo>
                  <a:pt x="0" y="0"/>
                </a:moveTo>
                <a:lnTo>
                  <a:pt x="10788850" y="0"/>
                </a:lnTo>
                <a:lnTo>
                  <a:pt x="10788850" y="732139"/>
                </a:lnTo>
                <a:lnTo>
                  <a:pt x="0" y="732139"/>
                </a:lnTo>
                <a:close/>
              </a:path>
            </a:pathLst>
          </a:custGeom>
          <a:solidFill>
            <a:srgbClr val="2079C3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sz="1800" dirty="0"/>
          </a:p>
        </p:txBody>
      </p:sp>
      <p:sp>
        <p:nvSpPr>
          <p:cNvPr id="18" name="Полилиния 17">
            <a:extLst>
              <a:ext uri="{FF2B5EF4-FFF2-40B4-BE49-F238E27FC236}">
                <a16:creationId xmlns:a16="http://schemas.microsoft.com/office/drawing/2014/main" id="{5BBED94E-228E-FC4B-807B-D5BCDC867C21}"/>
              </a:ext>
            </a:extLst>
          </p:cNvPr>
          <p:cNvSpPr/>
          <p:nvPr/>
        </p:nvSpPr>
        <p:spPr>
          <a:xfrm rot="2700000">
            <a:off x="-563988" y="1523358"/>
            <a:ext cx="1128153" cy="1128153"/>
          </a:xfrm>
          <a:custGeom>
            <a:avLst/>
            <a:gdLst>
              <a:gd name="connsiteX0" fmla="*/ 0 w 4895523"/>
              <a:gd name="connsiteY0" fmla="*/ 0 h 4895522"/>
              <a:gd name="connsiteX1" fmla="*/ 4895523 w 4895523"/>
              <a:gd name="connsiteY1" fmla="*/ 0 h 4895522"/>
              <a:gd name="connsiteX2" fmla="*/ 4895522 w 4895523"/>
              <a:gd name="connsiteY2" fmla="*/ 4895522 h 4895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895523" h="4895522">
                <a:moveTo>
                  <a:pt x="0" y="0"/>
                </a:moveTo>
                <a:lnTo>
                  <a:pt x="4895523" y="0"/>
                </a:lnTo>
                <a:lnTo>
                  <a:pt x="4895522" y="4895522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46AEF31A-9A7A-B140-840C-779C9FD3FC49}"/>
              </a:ext>
            </a:extLst>
          </p:cNvPr>
          <p:cNvSpPr txBox="1">
            <a:spLocks/>
          </p:cNvSpPr>
          <p:nvPr/>
        </p:nvSpPr>
        <p:spPr bwMode="auto">
          <a:xfrm>
            <a:off x="2277947" y="8879248"/>
            <a:ext cx="5662354" cy="9842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 b="1" i="0">
                <a:solidFill>
                  <a:srgbClr val="007EB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Arial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5pPr>
            <a:lvl6pPr marL="66039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6pPr>
            <a:lvl7pPr marL="1320793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7pPr>
            <a:lvl8pPr marL="198118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8pPr>
            <a:lvl9pPr marL="264158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ts val="869"/>
              </a:spcBef>
            </a:pPr>
            <a:r>
              <a:rPr lang="en-US" sz="3223" kern="0" dirty="0">
                <a:solidFill>
                  <a:schemeClr val="bg1"/>
                </a:solidFill>
                <a:latin typeface="Segoe UI" panose="020B0502040204020203" pitchFamily="34" charset="0"/>
                <a:ea typeface="Helvetica Neue Thin" panose="020B0403020202020204" pitchFamily="34" charset="0"/>
                <a:cs typeface="Segoe UI" panose="020B0502040204020203" pitchFamily="34" charset="0"/>
                <a:sym typeface="Roboto"/>
              </a:rPr>
              <a:t>__ </a:t>
            </a:r>
            <a:r>
              <a:rPr lang="ru-RU" sz="3223" kern="0" dirty="0">
                <a:solidFill>
                  <a:schemeClr val="bg1"/>
                </a:solidFill>
                <a:latin typeface="Segoe UI" panose="020B0502040204020203" pitchFamily="34" charset="0"/>
                <a:ea typeface="Helvetica Neue Thin" panose="020B0403020202020204" pitchFamily="34" charset="0"/>
                <a:cs typeface="Segoe UI" panose="020B0502040204020203" pitchFamily="34" charset="0"/>
                <a:sym typeface="Roboto"/>
              </a:rPr>
              <a:t>2021</a:t>
            </a:r>
          </a:p>
        </p:txBody>
      </p:sp>
      <p:sp>
        <p:nvSpPr>
          <p:cNvPr id="23" name="Полилиния 22">
            <a:extLst>
              <a:ext uri="{FF2B5EF4-FFF2-40B4-BE49-F238E27FC236}">
                <a16:creationId xmlns:a16="http://schemas.microsoft.com/office/drawing/2014/main" id="{99725DB1-52E5-0848-8D4E-5BBBBF94F736}"/>
              </a:ext>
            </a:extLst>
          </p:cNvPr>
          <p:cNvSpPr/>
          <p:nvPr/>
        </p:nvSpPr>
        <p:spPr>
          <a:xfrm rot="2700000">
            <a:off x="17586193" y="10660083"/>
            <a:ext cx="784084" cy="784084"/>
          </a:xfrm>
          <a:custGeom>
            <a:avLst/>
            <a:gdLst>
              <a:gd name="connsiteX0" fmla="*/ 0 w 784091"/>
              <a:gd name="connsiteY0" fmla="*/ 0 h 784091"/>
              <a:gd name="connsiteX1" fmla="*/ 784091 w 784091"/>
              <a:gd name="connsiteY1" fmla="*/ 0 h 784091"/>
              <a:gd name="connsiteX2" fmla="*/ 784091 w 784091"/>
              <a:gd name="connsiteY2" fmla="*/ 3 h 784091"/>
              <a:gd name="connsiteX3" fmla="*/ 3 w 784091"/>
              <a:gd name="connsiteY3" fmla="*/ 784091 h 784091"/>
              <a:gd name="connsiteX4" fmla="*/ 0 w 784091"/>
              <a:gd name="connsiteY4" fmla="*/ 784091 h 78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091" h="784091">
                <a:moveTo>
                  <a:pt x="0" y="0"/>
                </a:moveTo>
                <a:lnTo>
                  <a:pt x="784091" y="0"/>
                </a:lnTo>
                <a:lnTo>
                  <a:pt x="784091" y="3"/>
                </a:lnTo>
                <a:lnTo>
                  <a:pt x="3" y="784091"/>
                </a:lnTo>
                <a:lnTo>
                  <a:pt x="0" y="784091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20" name="Полилиния 14"/>
          <p:cNvSpPr/>
          <p:nvPr/>
        </p:nvSpPr>
        <p:spPr>
          <a:xfrm>
            <a:off x="542092" y="5635055"/>
            <a:ext cx="11202868" cy="2454882"/>
          </a:xfrm>
          <a:prstGeom prst="rect">
            <a:avLst/>
          </a:prstGeom>
          <a:solidFill>
            <a:schemeClr val="accent2">
              <a:alpha val="60000"/>
            </a:schemeClr>
          </a:solidFill>
          <a:ln w="12700">
            <a:miter lim="400000"/>
          </a:ln>
        </p:spPr>
        <p:txBody>
          <a:bodyPr lIns="45723" rIns="45723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C0F5ACC7-4941-584A-A015-BEBF2264F8EA}"/>
              </a:ext>
            </a:extLst>
          </p:cNvPr>
          <p:cNvSpPr txBox="1">
            <a:spLocks/>
          </p:cNvSpPr>
          <p:nvPr/>
        </p:nvSpPr>
        <p:spPr bwMode="auto">
          <a:xfrm>
            <a:off x="1045464" y="6397272"/>
            <a:ext cx="13958364" cy="12933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 b="1" i="0">
                <a:solidFill>
                  <a:srgbClr val="007EB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  <a:sym typeface="Arial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5pPr>
            <a:lvl6pPr marL="66039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6pPr>
            <a:lvl7pPr marL="1320793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7pPr>
            <a:lvl8pPr marL="198118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8pPr>
            <a:lvl9pPr marL="264158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622">
                <a:solidFill>
                  <a:srgbClr val="007EB0"/>
                </a:solidFill>
                <a:latin typeface="Arial" charset="0"/>
                <a:sym typeface="Arial" charset="0"/>
              </a:defRPr>
            </a:lvl9pPr>
          </a:lstStyle>
          <a:p>
            <a:pPr defTabSz="914398">
              <a:lnSpc>
                <a:spcPct val="100000"/>
              </a:lnSpc>
            </a:pPr>
            <a:r>
              <a:rPr lang="en-US" altLang="ru-RU" sz="5802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ITAL MEDIA PLANNER</a:t>
            </a:r>
            <a:endParaRPr lang="en" altLang="ru-RU" sz="5802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36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13">
            <a:extLst>
              <a:ext uri="{FF2B5EF4-FFF2-40B4-BE49-F238E27FC236}">
                <a16:creationId xmlns:a16="http://schemas.microsoft.com/office/drawing/2014/main" id="{CC0816B8-0B61-4419-9D29-1FBD77E6810C}"/>
              </a:ext>
            </a:extLst>
          </p:cNvPr>
          <p:cNvSpPr/>
          <p:nvPr/>
        </p:nvSpPr>
        <p:spPr>
          <a:xfrm>
            <a:off x="1606550" y="7898548"/>
            <a:ext cx="7822464" cy="2625334"/>
          </a:xfrm>
          <a:prstGeom prst="rect">
            <a:avLst/>
          </a:prstGeom>
          <a:solidFill>
            <a:srgbClr val="E50013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0</a:t>
            </a:fld>
            <a:endParaRPr lang="ru-RU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1627843" y="2779505"/>
            <a:ext cx="0" cy="7744377"/>
          </a:xfrm>
          <a:prstGeom prst="straightConnector1">
            <a:avLst/>
          </a:prstGeom>
          <a:ln w="76200" cmpd="sng">
            <a:solidFill>
              <a:srgbClr val="C64C4E"/>
            </a:solidFill>
            <a:headEnd type="oval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61656" y="3662900"/>
            <a:ext cx="476729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МЕДИАПЛАН В 3 ШАГА</a:t>
            </a:r>
            <a:endParaRPr lang="en-US" b="1" dirty="0"/>
          </a:p>
          <a:p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6180004"/>
            <a:ext cx="623950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ЗАПУСК ПРОЕКТА</a:t>
            </a:r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8901677"/>
            <a:ext cx="6137580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КОНТРОЛЬ И ОТЧЕТНОСТЬ</a:t>
            </a:r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26A1C649-4657-413B-A094-EA689D7A2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ДЕЛЛЕГИРУЕМ РУТИННЫЕ ПРОЦЕССЫ </a:t>
            </a:r>
            <a:r>
              <a:rPr lang="en-US" dirty="0"/>
              <a:t>-&gt; DMP</a:t>
            </a:r>
            <a:endParaRPr lang="ru-RU" dirty="0"/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78915EC0-AF68-4E21-9856-BAC231781700}"/>
              </a:ext>
            </a:extLst>
          </p:cNvPr>
          <p:cNvSpPr/>
          <p:nvPr/>
        </p:nvSpPr>
        <p:spPr>
          <a:xfrm>
            <a:off x="1606550" y="2779505"/>
            <a:ext cx="7738928" cy="2429965"/>
          </a:xfrm>
          <a:prstGeom prst="rect">
            <a:avLst/>
          </a:prstGeom>
          <a:solidFill>
            <a:srgbClr val="FF8F9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Rectangle 68">
            <a:extLst>
              <a:ext uri="{FF2B5EF4-FFF2-40B4-BE49-F238E27FC236}">
                <a16:creationId xmlns:a16="http://schemas.microsoft.com/office/drawing/2014/main" id="{24B203B1-21CB-4257-9D3E-C24E9E3622CD}"/>
              </a:ext>
            </a:extLst>
          </p:cNvPr>
          <p:cNvSpPr/>
          <p:nvPr/>
        </p:nvSpPr>
        <p:spPr>
          <a:xfrm>
            <a:off x="9429014" y="2779504"/>
            <a:ext cx="9432423" cy="7744378"/>
          </a:xfrm>
          <a:prstGeom prst="rect">
            <a:avLst/>
          </a:prstGeom>
          <a:solidFill>
            <a:srgbClr val="F3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00EC6938-A822-4C61-8433-52C8FEDAE16E}"/>
              </a:ext>
            </a:extLst>
          </p:cNvPr>
          <p:cNvSpPr/>
          <p:nvPr/>
        </p:nvSpPr>
        <p:spPr>
          <a:xfrm>
            <a:off x="1606550" y="5242218"/>
            <a:ext cx="7736660" cy="2625334"/>
          </a:xfrm>
          <a:prstGeom prst="rect">
            <a:avLst/>
          </a:prstGeom>
          <a:solidFill>
            <a:srgbClr val="FF3A4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866495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53998"/>
          </a:xfrm>
          <a:prstGeom prst="rect">
            <a:avLst/>
          </a:prstGeom>
          <a:solidFill>
            <a:srgbClr val="F38C95"/>
          </a:solidFill>
        </p:spPr>
        <p:txBody>
          <a:bodyPr wrap="square">
            <a:spAutoFit/>
          </a:bodyPr>
          <a:lstStyle/>
          <a:p>
            <a:pPr algn="ctr"/>
            <a:r>
              <a:rPr lang="ru-RU" sz="3000" b="1" dirty="0">
                <a:solidFill>
                  <a:schemeClr val="bg1"/>
                </a:solidFill>
              </a:rPr>
              <a:t>КОНТРОЛЬ И ОТЧЕТНОСТЬ</a:t>
            </a:r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ru-RU" sz="9600" dirty="0"/>
              <a:t>Ведение ПРОЕКТА</a:t>
            </a:r>
            <a:endParaRPr lang="ru-RU" dirty="0"/>
          </a:p>
        </p:txBody>
      </p:sp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49B6FB1B-FB5A-40C6-87CC-09D4D8B47C55}"/>
              </a:ext>
            </a:extLst>
          </p:cNvPr>
          <p:cNvSpPr txBox="1">
            <a:spLocks/>
          </p:cNvSpPr>
          <p:nvPr/>
        </p:nvSpPr>
        <p:spPr>
          <a:xfrm>
            <a:off x="405866" y="11734439"/>
            <a:ext cx="19058348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2000" dirty="0"/>
              <a:t>*АВТОМАТИЧЕСКАЯ РАССЫЛКА ПИСЕМ НА ПЛОЩАДКИ В СЛУЧАЕ, ЕСЛИ ЕСТЬ ОТКЛОНЕНИЯ ОТ ПЛАНА (ПОКАЗЫ, </a:t>
            </a:r>
            <a:r>
              <a:rPr lang="en-US" sz="2000" dirty="0"/>
              <a:t>CTR</a:t>
            </a:r>
            <a:endParaRPr lang="ru-RU" sz="2000" dirty="0"/>
          </a:p>
          <a:p>
            <a:r>
              <a:rPr lang="ru-RU" sz="2000" dirty="0"/>
              <a:t>** - АВТОМАТИЧЕСКАЯ РАССЫЛКА ПИСЕМ НА ПЛОЩАДКИ ОБ ОСТАНОВКЕ РК, В СЛУЧАЕ ЕСЛИ ЕСТЬ СТРОГИЕ ОГРАНИЧЕНИЯ ПО СРОКАМ (АКЦИЯ), СМЕНА МАТЕРИАЛОВ, ЭКСТРЕННЫЕ СИТУАЦИИ</a:t>
            </a:r>
          </a:p>
          <a:p>
            <a:pPr marL="342900" indent="-342900">
              <a:buFontTx/>
              <a:buChar char="-"/>
            </a:pPr>
            <a:r>
              <a:rPr lang="ru-RU" sz="2000" dirty="0"/>
              <a:t>ПО ФАКТУ ЗАВЕРШЕНИЯ РК ЗАПРОС ЭФИРОК, СТАТИСТИКИ ПЛОЩАДКИ И ПРОЧЕЕ </a:t>
            </a:r>
            <a:r>
              <a:rPr lang="ru-RU" sz="1100" dirty="0"/>
              <a:t>(ОБСУЖДАЕТСЯ ИНДИВИДУАЛЬНО) </a:t>
            </a:r>
            <a:r>
              <a:rPr lang="ru-RU" sz="2000" dirty="0"/>
              <a:t>+ ЗАПРОС ФИНАЛЬНОГО ОТЧЕТА ОТ </a:t>
            </a:r>
            <a:r>
              <a:rPr lang="en-US" sz="2000" dirty="0"/>
              <a:t>ADRIVER</a:t>
            </a:r>
            <a:r>
              <a:rPr lang="ru-RU" sz="2000" dirty="0"/>
              <a:t>/</a:t>
            </a:r>
            <a:r>
              <a:rPr lang="en-US" sz="2000" dirty="0"/>
              <a:t>dcm</a:t>
            </a:r>
          </a:p>
          <a:p>
            <a:pPr marL="342900" indent="-342900">
              <a:buFontTx/>
              <a:buChar char="-"/>
            </a:pPr>
            <a:r>
              <a:rPr lang="ru-RU" sz="2000" dirty="0"/>
              <a:t>СБОР В </a:t>
            </a:r>
            <a:r>
              <a:rPr lang="en-US" sz="2000" dirty="0"/>
              <a:t>PPT </a:t>
            </a:r>
            <a:r>
              <a:rPr lang="ru-RU" sz="2000" dirty="0"/>
              <a:t>ОСНОВНЫХ ДАННЫХ</a:t>
            </a:r>
          </a:p>
          <a:p>
            <a:pPr lvl="0"/>
            <a:endParaRPr lang="ru-RU" sz="2000" dirty="0"/>
          </a:p>
          <a:p>
            <a:endParaRPr lang="ru-RU" sz="2000" dirty="0"/>
          </a:p>
          <a:p>
            <a:endParaRPr lang="ru-RU" sz="2000" dirty="0"/>
          </a:p>
          <a:p>
            <a:pPr marL="457200" indent="-457200">
              <a:buAutoNum type="arabicPeriod"/>
            </a:pPr>
            <a:endParaRPr lang="ru-RU" sz="2000" dirty="0"/>
          </a:p>
          <a:p>
            <a:endParaRPr lang="ru-RU" sz="2000" dirty="0"/>
          </a:p>
          <a:p>
            <a:endParaRPr lang="ru-RU" sz="2417" dirty="0"/>
          </a:p>
        </p:txBody>
      </p:sp>
      <p:grpSp>
        <p:nvGrpSpPr>
          <p:cNvPr id="29" name="Группа 960">
            <a:extLst>
              <a:ext uri="{FF2B5EF4-FFF2-40B4-BE49-F238E27FC236}">
                <a16:creationId xmlns:a16="http://schemas.microsoft.com/office/drawing/2014/main" id="{1E55C6FA-8A6F-4D16-B9A3-5C175E6E5566}"/>
              </a:ext>
            </a:extLst>
          </p:cNvPr>
          <p:cNvGrpSpPr/>
          <p:nvPr/>
        </p:nvGrpSpPr>
        <p:grpSpPr>
          <a:xfrm>
            <a:off x="14576554" y="3269118"/>
            <a:ext cx="5412656" cy="5395424"/>
            <a:chOff x="7342188" y="1946276"/>
            <a:chExt cx="498475" cy="496888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30" name="Freeform 777">
              <a:extLst>
                <a:ext uri="{FF2B5EF4-FFF2-40B4-BE49-F238E27FC236}">
                  <a16:creationId xmlns:a16="http://schemas.microsoft.com/office/drawing/2014/main" id="{786C22B7-94AD-43C6-814A-8B9E44F480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2188" y="2055814"/>
              <a:ext cx="498475" cy="279400"/>
            </a:xfrm>
            <a:custGeom>
              <a:avLst/>
              <a:gdLst>
                <a:gd name="T0" fmla="*/ 129 w 257"/>
                <a:gd name="T1" fmla="*/ 144 h 144"/>
                <a:gd name="T2" fmla="*/ 2 w 257"/>
                <a:gd name="T3" fmla="*/ 74 h 144"/>
                <a:gd name="T4" fmla="*/ 2 w 257"/>
                <a:gd name="T5" fmla="*/ 69 h 144"/>
                <a:gd name="T6" fmla="*/ 129 w 257"/>
                <a:gd name="T7" fmla="*/ 0 h 144"/>
                <a:gd name="T8" fmla="*/ 256 w 257"/>
                <a:gd name="T9" fmla="*/ 69 h 144"/>
                <a:gd name="T10" fmla="*/ 256 w 257"/>
                <a:gd name="T11" fmla="*/ 74 h 144"/>
                <a:gd name="T12" fmla="*/ 129 w 257"/>
                <a:gd name="T13" fmla="*/ 144 h 144"/>
                <a:gd name="T14" fmla="*/ 10 w 257"/>
                <a:gd name="T15" fmla="*/ 72 h 144"/>
                <a:gd name="T16" fmla="*/ 129 w 257"/>
                <a:gd name="T17" fmla="*/ 136 h 144"/>
                <a:gd name="T18" fmla="*/ 247 w 257"/>
                <a:gd name="T19" fmla="*/ 72 h 144"/>
                <a:gd name="T20" fmla="*/ 129 w 257"/>
                <a:gd name="T21" fmla="*/ 8 h 144"/>
                <a:gd name="T22" fmla="*/ 10 w 257"/>
                <a:gd name="T23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7" h="144">
                  <a:moveTo>
                    <a:pt x="129" y="144"/>
                  </a:moveTo>
                  <a:cubicBezTo>
                    <a:pt x="59" y="144"/>
                    <a:pt x="4" y="77"/>
                    <a:pt x="2" y="74"/>
                  </a:cubicBezTo>
                  <a:cubicBezTo>
                    <a:pt x="0" y="73"/>
                    <a:pt x="0" y="71"/>
                    <a:pt x="2" y="69"/>
                  </a:cubicBezTo>
                  <a:cubicBezTo>
                    <a:pt x="4" y="66"/>
                    <a:pt x="59" y="0"/>
                    <a:pt x="129" y="0"/>
                  </a:cubicBezTo>
                  <a:cubicBezTo>
                    <a:pt x="198" y="0"/>
                    <a:pt x="254" y="66"/>
                    <a:pt x="256" y="69"/>
                  </a:cubicBezTo>
                  <a:cubicBezTo>
                    <a:pt x="257" y="71"/>
                    <a:pt x="257" y="73"/>
                    <a:pt x="256" y="74"/>
                  </a:cubicBezTo>
                  <a:cubicBezTo>
                    <a:pt x="254" y="77"/>
                    <a:pt x="198" y="144"/>
                    <a:pt x="129" y="144"/>
                  </a:cubicBezTo>
                  <a:close/>
                  <a:moveTo>
                    <a:pt x="10" y="72"/>
                  </a:moveTo>
                  <a:cubicBezTo>
                    <a:pt x="21" y="84"/>
                    <a:pt x="70" y="136"/>
                    <a:pt x="129" y="136"/>
                  </a:cubicBezTo>
                  <a:cubicBezTo>
                    <a:pt x="187" y="136"/>
                    <a:pt x="237" y="84"/>
                    <a:pt x="247" y="72"/>
                  </a:cubicBezTo>
                  <a:cubicBezTo>
                    <a:pt x="237" y="60"/>
                    <a:pt x="187" y="8"/>
                    <a:pt x="129" y="8"/>
                  </a:cubicBezTo>
                  <a:cubicBezTo>
                    <a:pt x="70" y="8"/>
                    <a:pt x="21" y="60"/>
                    <a:pt x="10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1" name="Freeform 778">
              <a:extLst>
                <a:ext uri="{FF2B5EF4-FFF2-40B4-BE49-F238E27FC236}">
                  <a16:creationId xmlns:a16="http://schemas.microsoft.com/office/drawing/2014/main" id="{FEDF8B09-BBFA-43AD-B364-5E919AA6AE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3313" y="2055814"/>
              <a:ext cx="277813" cy="279400"/>
            </a:xfrm>
            <a:custGeom>
              <a:avLst/>
              <a:gdLst>
                <a:gd name="T0" fmla="*/ 72 w 144"/>
                <a:gd name="T1" fmla="*/ 144 h 144"/>
                <a:gd name="T2" fmla="*/ 0 w 144"/>
                <a:gd name="T3" fmla="*/ 72 h 144"/>
                <a:gd name="T4" fmla="*/ 72 w 144"/>
                <a:gd name="T5" fmla="*/ 0 h 144"/>
                <a:gd name="T6" fmla="*/ 144 w 144"/>
                <a:gd name="T7" fmla="*/ 72 h 144"/>
                <a:gd name="T8" fmla="*/ 72 w 144"/>
                <a:gd name="T9" fmla="*/ 144 h 144"/>
                <a:gd name="T10" fmla="*/ 72 w 144"/>
                <a:gd name="T11" fmla="*/ 8 h 144"/>
                <a:gd name="T12" fmla="*/ 8 w 144"/>
                <a:gd name="T13" fmla="*/ 72 h 144"/>
                <a:gd name="T14" fmla="*/ 72 w 144"/>
                <a:gd name="T15" fmla="*/ 136 h 144"/>
                <a:gd name="T16" fmla="*/ 136 w 144"/>
                <a:gd name="T17" fmla="*/ 72 h 144"/>
                <a:gd name="T18" fmla="*/ 72 w 144"/>
                <a:gd name="T19" fmla="*/ 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cubicBezTo>
                    <a:pt x="32" y="144"/>
                    <a:pt x="0" y="11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1" y="0"/>
                    <a:pt x="144" y="32"/>
                    <a:pt x="144" y="72"/>
                  </a:cubicBezTo>
                  <a:cubicBezTo>
                    <a:pt x="144" y="112"/>
                    <a:pt x="111" y="144"/>
                    <a:pt x="72" y="144"/>
                  </a:cubicBezTo>
                  <a:close/>
                  <a:moveTo>
                    <a:pt x="72" y="8"/>
                  </a:moveTo>
                  <a:cubicBezTo>
                    <a:pt x="36" y="8"/>
                    <a:pt x="8" y="37"/>
                    <a:pt x="8" y="72"/>
                  </a:cubicBezTo>
                  <a:cubicBezTo>
                    <a:pt x="8" y="107"/>
                    <a:pt x="36" y="136"/>
                    <a:pt x="72" y="136"/>
                  </a:cubicBezTo>
                  <a:cubicBezTo>
                    <a:pt x="107" y="136"/>
                    <a:pt x="136" y="107"/>
                    <a:pt x="136" y="72"/>
                  </a:cubicBezTo>
                  <a:cubicBezTo>
                    <a:pt x="136" y="37"/>
                    <a:pt x="107" y="8"/>
                    <a:pt x="7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5" name="Freeform 779">
              <a:extLst>
                <a:ext uri="{FF2B5EF4-FFF2-40B4-BE49-F238E27FC236}">
                  <a16:creationId xmlns:a16="http://schemas.microsoft.com/office/drawing/2014/main" id="{507E9087-3425-4615-A9A3-8BCD5585F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9351" y="2101851"/>
              <a:ext cx="185738" cy="185738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52 h 96"/>
                <a:gd name="T4" fmla="*/ 8 w 96"/>
                <a:gd name="T5" fmla="*/ 52 h 96"/>
                <a:gd name="T6" fmla="*/ 48 w 96"/>
                <a:gd name="T7" fmla="*/ 88 h 96"/>
                <a:gd name="T8" fmla="*/ 88 w 96"/>
                <a:gd name="T9" fmla="*/ 48 h 96"/>
                <a:gd name="T10" fmla="*/ 52 w 96"/>
                <a:gd name="T11" fmla="*/ 8 h 96"/>
                <a:gd name="T12" fmla="*/ 52 w 96"/>
                <a:gd name="T13" fmla="*/ 0 h 96"/>
                <a:gd name="T14" fmla="*/ 96 w 96"/>
                <a:gd name="T15" fmla="*/ 48 h 96"/>
                <a:gd name="T16" fmla="*/ 48 w 96"/>
                <a:gd name="T1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69"/>
                    <a:pt x="25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5"/>
                    <a:pt x="69" y="8"/>
                    <a:pt x="52" y="8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4"/>
                    <a:pt x="74" y="96"/>
                    <a:pt x="48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780">
              <a:extLst>
                <a:ext uri="{FF2B5EF4-FFF2-40B4-BE49-F238E27FC236}">
                  <a16:creationId xmlns:a16="http://schemas.microsoft.com/office/drawing/2014/main" id="{B29FBEB8-559C-4EA6-8206-5528F331E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1946276"/>
              <a:ext cx="481013" cy="188913"/>
            </a:xfrm>
            <a:custGeom>
              <a:avLst/>
              <a:gdLst>
                <a:gd name="T0" fmla="*/ 240 w 248"/>
                <a:gd name="T1" fmla="*/ 97 h 97"/>
                <a:gd name="T2" fmla="*/ 124 w 248"/>
                <a:gd name="T3" fmla="*/ 8 h 97"/>
                <a:gd name="T4" fmla="*/ 8 w 248"/>
                <a:gd name="T5" fmla="*/ 97 h 97"/>
                <a:gd name="T6" fmla="*/ 0 w 248"/>
                <a:gd name="T7" fmla="*/ 95 h 97"/>
                <a:gd name="T8" fmla="*/ 124 w 248"/>
                <a:gd name="T9" fmla="*/ 0 h 97"/>
                <a:gd name="T10" fmla="*/ 248 w 248"/>
                <a:gd name="T11" fmla="*/ 95 h 97"/>
                <a:gd name="T12" fmla="*/ 240 w 248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97">
                  <a:moveTo>
                    <a:pt x="240" y="97"/>
                  </a:moveTo>
                  <a:cubicBezTo>
                    <a:pt x="226" y="44"/>
                    <a:pt x="178" y="8"/>
                    <a:pt x="124" y="8"/>
                  </a:cubicBezTo>
                  <a:cubicBezTo>
                    <a:pt x="69" y="8"/>
                    <a:pt x="22" y="44"/>
                    <a:pt x="8" y="97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15" y="39"/>
                    <a:pt x="66" y="0"/>
                    <a:pt x="124" y="0"/>
                  </a:cubicBezTo>
                  <a:cubicBezTo>
                    <a:pt x="182" y="0"/>
                    <a:pt x="233" y="39"/>
                    <a:pt x="248" y="95"/>
                  </a:cubicBezTo>
                  <a:lnTo>
                    <a:pt x="240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781">
              <a:extLst>
                <a:ext uri="{FF2B5EF4-FFF2-40B4-BE49-F238E27FC236}">
                  <a16:creationId xmlns:a16="http://schemas.microsoft.com/office/drawing/2014/main" id="{9966F180-5F30-48DA-A6FC-F30AFFAD8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2255839"/>
              <a:ext cx="481013" cy="187325"/>
            </a:xfrm>
            <a:custGeom>
              <a:avLst/>
              <a:gdLst>
                <a:gd name="T0" fmla="*/ 124 w 248"/>
                <a:gd name="T1" fmla="*/ 97 h 97"/>
                <a:gd name="T2" fmla="*/ 0 w 248"/>
                <a:gd name="T3" fmla="*/ 2 h 97"/>
                <a:gd name="T4" fmla="*/ 8 w 248"/>
                <a:gd name="T5" fmla="*/ 0 h 97"/>
                <a:gd name="T6" fmla="*/ 124 w 248"/>
                <a:gd name="T7" fmla="*/ 89 h 97"/>
                <a:gd name="T8" fmla="*/ 240 w 248"/>
                <a:gd name="T9" fmla="*/ 0 h 97"/>
                <a:gd name="T10" fmla="*/ 248 w 248"/>
                <a:gd name="T11" fmla="*/ 2 h 97"/>
                <a:gd name="T12" fmla="*/ 124 w 248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97">
                  <a:moveTo>
                    <a:pt x="124" y="97"/>
                  </a:moveTo>
                  <a:cubicBezTo>
                    <a:pt x="66" y="97"/>
                    <a:pt x="15" y="58"/>
                    <a:pt x="0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2" y="52"/>
                    <a:pt x="69" y="89"/>
                    <a:pt x="124" y="89"/>
                  </a:cubicBezTo>
                  <a:cubicBezTo>
                    <a:pt x="178" y="89"/>
                    <a:pt x="226" y="52"/>
                    <a:pt x="240" y="0"/>
                  </a:cubicBezTo>
                  <a:cubicBezTo>
                    <a:pt x="248" y="2"/>
                    <a:pt x="248" y="2"/>
                    <a:pt x="248" y="2"/>
                  </a:cubicBezTo>
                  <a:cubicBezTo>
                    <a:pt x="233" y="58"/>
                    <a:pt x="182" y="97"/>
                    <a:pt x="124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782">
              <a:extLst>
                <a:ext uri="{FF2B5EF4-FFF2-40B4-BE49-F238E27FC236}">
                  <a16:creationId xmlns:a16="http://schemas.microsoft.com/office/drawing/2014/main" id="{97D42C97-B4EE-4E51-A732-0A114CF517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9351" y="2101851"/>
              <a:ext cx="85725" cy="85725"/>
            </a:xfrm>
            <a:custGeom>
              <a:avLst/>
              <a:gdLst>
                <a:gd name="T0" fmla="*/ 44 w 44"/>
                <a:gd name="T1" fmla="*/ 44 h 44"/>
                <a:gd name="T2" fmla="*/ 0 w 44"/>
                <a:gd name="T3" fmla="*/ 44 h 44"/>
                <a:gd name="T4" fmla="*/ 0 w 44"/>
                <a:gd name="T5" fmla="*/ 40 h 44"/>
                <a:gd name="T6" fmla="*/ 40 w 44"/>
                <a:gd name="T7" fmla="*/ 0 h 44"/>
                <a:gd name="T8" fmla="*/ 44 w 44"/>
                <a:gd name="T9" fmla="*/ 0 h 44"/>
                <a:gd name="T10" fmla="*/ 44 w 44"/>
                <a:gd name="T11" fmla="*/ 44 h 44"/>
                <a:gd name="T12" fmla="*/ 8 w 44"/>
                <a:gd name="T13" fmla="*/ 36 h 44"/>
                <a:gd name="T14" fmla="*/ 36 w 44"/>
                <a:gd name="T15" fmla="*/ 36 h 44"/>
                <a:gd name="T16" fmla="*/ 36 w 44"/>
                <a:gd name="T17" fmla="*/ 8 h 44"/>
                <a:gd name="T18" fmla="*/ 8 w 44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44" y="44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44" y="44"/>
                  </a:lnTo>
                  <a:close/>
                  <a:moveTo>
                    <a:pt x="8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21" y="10"/>
                    <a:pt x="10" y="21"/>
                    <a:pt x="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39" name="Группа 723">
            <a:extLst>
              <a:ext uri="{FF2B5EF4-FFF2-40B4-BE49-F238E27FC236}">
                <a16:creationId xmlns:a16="http://schemas.microsoft.com/office/drawing/2014/main" id="{EA8983E8-54BB-437D-8C19-1590EC294216}"/>
              </a:ext>
            </a:extLst>
          </p:cNvPr>
          <p:cNvGrpSpPr/>
          <p:nvPr/>
        </p:nvGrpSpPr>
        <p:grpSpPr>
          <a:xfrm>
            <a:off x="-563298" y="3269118"/>
            <a:ext cx="3884165" cy="5427433"/>
            <a:chOff x="2781301" y="1946276"/>
            <a:chExt cx="355600" cy="496888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A80D6108-55B9-48BE-9C6F-30499E59F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1301" y="1946276"/>
              <a:ext cx="355600" cy="47625"/>
            </a:xfrm>
            <a:custGeom>
              <a:avLst/>
              <a:gdLst>
                <a:gd name="T0" fmla="*/ 180 w 184"/>
                <a:gd name="T1" fmla="*/ 24 h 24"/>
                <a:gd name="T2" fmla="*/ 4 w 184"/>
                <a:gd name="T3" fmla="*/ 24 h 24"/>
                <a:gd name="T4" fmla="*/ 0 w 184"/>
                <a:gd name="T5" fmla="*/ 20 h 24"/>
                <a:gd name="T6" fmla="*/ 0 w 184"/>
                <a:gd name="T7" fmla="*/ 4 h 24"/>
                <a:gd name="T8" fmla="*/ 4 w 184"/>
                <a:gd name="T9" fmla="*/ 0 h 24"/>
                <a:gd name="T10" fmla="*/ 180 w 184"/>
                <a:gd name="T11" fmla="*/ 0 h 24"/>
                <a:gd name="T12" fmla="*/ 184 w 184"/>
                <a:gd name="T13" fmla="*/ 4 h 24"/>
                <a:gd name="T14" fmla="*/ 184 w 184"/>
                <a:gd name="T15" fmla="*/ 20 h 24"/>
                <a:gd name="T16" fmla="*/ 180 w 184"/>
                <a:gd name="T17" fmla="*/ 24 h 24"/>
                <a:gd name="T18" fmla="*/ 8 w 184"/>
                <a:gd name="T19" fmla="*/ 16 h 24"/>
                <a:gd name="T20" fmla="*/ 176 w 184"/>
                <a:gd name="T21" fmla="*/ 16 h 24"/>
                <a:gd name="T22" fmla="*/ 176 w 184"/>
                <a:gd name="T23" fmla="*/ 8 h 24"/>
                <a:gd name="T24" fmla="*/ 8 w 184"/>
                <a:gd name="T25" fmla="*/ 8 h 24"/>
                <a:gd name="T26" fmla="*/ 8 w 184"/>
                <a:gd name="T27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4" h="24">
                  <a:moveTo>
                    <a:pt x="180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4" y="2"/>
                    <a:pt x="184" y="4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184" y="22"/>
                    <a:pt x="182" y="24"/>
                    <a:pt x="180" y="24"/>
                  </a:cubicBezTo>
                  <a:close/>
                  <a:moveTo>
                    <a:pt x="8" y="16"/>
                  </a:moveTo>
                  <a:cubicBezTo>
                    <a:pt x="176" y="16"/>
                    <a:pt x="176" y="16"/>
                    <a:pt x="176" y="16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D5A39123-A443-4F9E-8386-51B3B5413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1301" y="2397126"/>
              <a:ext cx="355600" cy="46038"/>
            </a:xfrm>
            <a:custGeom>
              <a:avLst/>
              <a:gdLst>
                <a:gd name="T0" fmla="*/ 180 w 184"/>
                <a:gd name="T1" fmla="*/ 24 h 24"/>
                <a:gd name="T2" fmla="*/ 4 w 184"/>
                <a:gd name="T3" fmla="*/ 24 h 24"/>
                <a:gd name="T4" fmla="*/ 0 w 184"/>
                <a:gd name="T5" fmla="*/ 20 h 24"/>
                <a:gd name="T6" fmla="*/ 0 w 184"/>
                <a:gd name="T7" fmla="*/ 4 h 24"/>
                <a:gd name="T8" fmla="*/ 4 w 184"/>
                <a:gd name="T9" fmla="*/ 0 h 24"/>
                <a:gd name="T10" fmla="*/ 180 w 184"/>
                <a:gd name="T11" fmla="*/ 0 h 24"/>
                <a:gd name="T12" fmla="*/ 184 w 184"/>
                <a:gd name="T13" fmla="*/ 4 h 24"/>
                <a:gd name="T14" fmla="*/ 184 w 184"/>
                <a:gd name="T15" fmla="*/ 20 h 24"/>
                <a:gd name="T16" fmla="*/ 180 w 184"/>
                <a:gd name="T17" fmla="*/ 24 h 24"/>
                <a:gd name="T18" fmla="*/ 8 w 184"/>
                <a:gd name="T19" fmla="*/ 16 h 24"/>
                <a:gd name="T20" fmla="*/ 176 w 184"/>
                <a:gd name="T21" fmla="*/ 16 h 24"/>
                <a:gd name="T22" fmla="*/ 176 w 184"/>
                <a:gd name="T23" fmla="*/ 8 h 24"/>
                <a:gd name="T24" fmla="*/ 8 w 184"/>
                <a:gd name="T25" fmla="*/ 8 h 24"/>
                <a:gd name="T26" fmla="*/ 8 w 184"/>
                <a:gd name="T27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4" h="24">
                  <a:moveTo>
                    <a:pt x="180" y="24"/>
                  </a:move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4" y="2"/>
                    <a:pt x="184" y="4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184" y="22"/>
                    <a:pt x="182" y="24"/>
                    <a:pt x="180" y="24"/>
                  </a:cubicBezTo>
                  <a:close/>
                  <a:moveTo>
                    <a:pt x="8" y="16"/>
                  </a:moveTo>
                  <a:cubicBezTo>
                    <a:pt x="176" y="16"/>
                    <a:pt x="176" y="16"/>
                    <a:pt x="176" y="16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05034E38-3524-4393-83A0-37B0F9BD8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976" y="1985964"/>
              <a:ext cx="115888" cy="419100"/>
            </a:xfrm>
            <a:custGeom>
              <a:avLst/>
              <a:gdLst>
                <a:gd name="T0" fmla="*/ 60 w 60"/>
                <a:gd name="T1" fmla="*/ 216 h 216"/>
                <a:gd name="T2" fmla="*/ 52 w 60"/>
                <a:gd name="T3" fmla="*/ 216 h 216"/>
                <a:gd name="T4" fmla="*/ 52 w 60"/>
                <a:gd name="T5" fmla="*/ 196 h 216"/>
                <a:gd name="T6" fmla="*/ 3 w 60"/>
                <a:gd name="T7" fmla="*/ 116 h 216"/>
                <a:gd name="T8" fmla="*/ 0 w 60"/>
                <a:gd name="T9" fmla="*/ 115 h 216"/>
                <a:gd name="T10" fmla="*/ 0 w 60"/>
                <a:gd name="T11" fmla="*/ 101 h 216"/>
                <a:gd name="T12" fmla="*/ 3 w 60"/>
                <a:gd name="T13" fmla="*/ 100 h 216"/>
                <a:gd name="T14" fmla="*/ 52 w 60"/>
                <a:gd name="T15" fmla="*/ 20 h 216"/>
                <a:gd name="T16" fmla="*/ 52 w 60"/>
                <a:gd name="T17" fmla="*/ 0 h 216"/>
                <a:gd name="T18" fmla="*/ 60 w 60"/>
                <a:gd name="T19" fmla="*/ 0 h 216"/>
                <a:gd name="T20" fmla="*/ 60 w 60"/>
                <a:gd name="T21" fmla="*/ 20 h 216"/>
                <a:gd name="T22" fmla="*/ 8 w 60"/>
                <a:gd name="T23" fmla="*/ 106 h 216"/>
                <a:gd name="T24" fmla="*/ 8 w 60"/>
                <a:gd name="T25" fmla="*/ 109 h 216"/>
                <a:gd name="T26" fmla="*/ 60 w 60"/>
                <a:gd name="T27" fmla="*/ 196 h 216"/>
                <a:gd name="T28" fmla="*/ 60 w 60"/>
                <a:gd name="T29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216">
                  <a:moveTo>
                    <a:pt x="60" y="216"/>
                  </a:moveTo>
                  <a:cubicBezTo>
                    <a:pt x="52" y="216"/>
                    <a:pt x="52" y="216"/>
                    <a:pt x="52" y="216"/>
                  </a:cubicBezTo>
                  <a:cubicBezTo>
                    <a:pt x="52" y="196"/>
                    <a:pt x="52" y="196"/>
                    <a:pt x="52" y="196"/>
                  </a:cubicBezTo>
                  <a:cubicBezTo>
                    <a:pt x="52" y="135"/>
                    <a:pt x="3" y="116"/>
                    <a:pt x="3" y="116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" y="100"/>
                    <a:pt x="3" y="100"/>
                    <a:pt x="3" y="100"/>
                  </a:cubicBezTo>
                  <a:cubicBezTo>
                    <a:pt x="5" y="99"/>
                    <a:pt x="52" y="80"/>
                    <a:pt x="52" y="2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77"/>
                    <a:pt x="19" y="101"/>
                    <a:pt x="8" y="106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19" y="114"/>
                    <a:pt x="60" y="138"/>
                    <a:pt x="60" y="196"/>
                  </a:cubicBezTo>
                  <a:lnTo>
                    <a:pt x="60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07F0C0D8-2254-4E49-9683-199F49545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338" y="1985964"/>
              <a:ext cx="115888" cy="419100"/>
            </a:xfrm>
            <a:custGeom>
              <a:avLst/>
              <a:gdLst>
                <a:gd name="T0" fmla="*/ 8 w 60"/>
                <a:gd name="T1" fmla="*/ 216 h 216"/>
                <a:gd name="T2" fmla="*/ 0 w 60"/>
                <a:gd name="T3" fmla="*/ 216 h 216"/>
                <a:gd name="T4" fmla="*/ 0 w 60"/>
                <a:gd name="T5" fmla="*/ 196 h 216"/>
                <a:gd name="T6" fmla="*/ 52 w 60"/>
                <a:gd name="T7" fmla="*/ 109 h 216"/>
                <a:gd name="T8" fmla="*/ 52 w 60"/>
                <a:gd name="T9" fmla="*/ 106 h 216"/>
                <a:gd name="T10" fmla="*/ 0 w 60"/>
                <a:gd name="T11" fmla="*/ 20 h 216"/>
                <a:gd name="T12" fmla="*/ 0 w 60"/>
                <a:gd name="T13" fmla="*/ 0 h 216"/>
                <a:gd name="T14" fmla="*/ 8 w 60"/>
                <a:gd name="T15" fmla="*/ 0 h 216"/>
                <a:gd name="T16" fmla="*/ 8 w 60"/>
                <a:gd name="T17" fmla="*/ 20 h 216"/>
                <a:gd name="T18" fmla="*/ 57 w 60"/>
                <a:gd name="T19" fmla="*/ 100 h 216"/>
                <a:gd name="T20" fmla="*/ 60 w 60"/>
                <a:gd name="T21" fmla="*/ 101 h 216"/>
                <a:gd name="T22" fmla="*/ 60 w 60"/>
                <a:gd name="T23" fmla="*/ 115 h 216"/>
                <a:gd name="T24" fmla="*/ 57 w 60"/>
                <a:gd name="T25" fmla="*/ 116 h 216"/>
                <a:gd name="T26" fmla="*/ 8 w 60"/>
                <a:gd name="T27" fmla="*/ 196 h 216"/>
                <a:gd name="T28" fmla="*/ 8 w 60"/>
                <a:gd name="T29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216">
                  <a:moveTo>
                    <a:pt x="8" y="216"/>
                  </a:moveTo>
                  <a:cubicBezTo>
                    <a:pt x="0" y="216"/>
                    <a:pt x="0" y="216"/>
                    <a:pt x="0" y="21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138"/>
                    <a:pt x="41" y="114"/>
                    <a:pt x="52" y="109"/>
                  </a:cubicBezTo>
                  <a:cubicBezTo>
                    <a:pt x="52" y="106"/>
                    <a:pt x="52" y="106"/>
                    <a:pt x="52" y="106"/>
                  </a:cubicBezTo>
                  <a:cubicBezTo>
                    <a:pt x="41" y="101"/>
                    <a:pt x="0" y="77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80"/>
                    <a:pt x="57" y="100"/>
                    <a:pt x="57" y="100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15"/>
                    <a:pt x="60" y="115"/>
                    <a:pt x="60" y="115"/>
                  </a:cubicBezTo>
                  <a:cubicBezTo>
                    <a:pt x="57" y="116"/>
                    <a:pt x="57" y="116"/>
                    <a:pt x="57" y="116"/>
                  </a:cubicBezTo>
                  <a:cubicBezTo>
                    <a:pt x="55" y="116"/>
                    <a:pt x="8" y="135"/>
                    <a:pt x="8" y="196"/>
                  </a:cubicBezTo>
                  <a:lnTo>
                    <a:pt x="8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2138C663-EEE0-42E4-9B76-99703BCE7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1626" y="2063751"/>
              <a:ext cx="236538" cy="61913"/>
            </a:xfrm>
            <a:custGeom>
              <a:avLst/>
              <a:gdLst>
                <a:gd name="T0" fmla="*/ 74 w 149"/>
                <a:gd name="T1" fmla="*/ 39 h 39"/>
                <a:gd name="T2" fmla="*/ 0 w 149"/>
                <a:gd name="T3" fmla="*/ 9 h 39"/>
                <a:gd name="T4" fmla="*/ 2 w 149"/>
                <a:gd name="T5" fmla="*/ 0 h 39"/>
                <a:gd name="T6" fmla="*/ 74 w 149"/>
                <a:gd name="T7" fmla="*/ 29 h 39"/>
                <a:gd name="T8" fmla="*/ 146 w 149"/>
                <a:gd name="T9" fmla="*/ 0 h 39"/>
                <a:gd name="T10" fmla="*/ 149 w 149"/>
                <a:gd name="T11" fmla="*/ 9 h 39"/>
                <a:gd name="T12" fmla="*/ 74 w 149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39">
                  <a:moveTo>
                    <a:pt x="74" y="39"/>
                  </a:moveTo>
                  <a:lnTo>
                    <a:pt x="0" y="9"/>
                  </a:lnTo>
                  <a:lnTo>
                    <a:pt x="2" y="0"/>
                  </a:lnTo>
                  <a:lnTo>
                    <a:pt x="74" y="29"/>
                  </a:lnTo>
                  <a:lnTo>
                    <a:pt x="146" y="0"/>
                  </a:lnTo>
                  <a:lnTo>
                    <a:pt x="149" y="9"/>
                  </a:lnTo>
                  <a:lnTo>
                    <a:pt x="74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5" name="Freeform 22">
              <a:extLst>
                <a:ext uri="{FF2B5EF4-FFF2-40B4-BE49-F238E27FC236}">
                  <a16:creationId xmlns:a16="http://schemas.microsoft.com/office/drawing/2014/main" id="{1C3D3305-97A5-48D6-8C1D-A13C7A02F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7338" y="2303464"/>
              <a:ext cx="263525" cy="101600"/>
            </a:xfrm>
            <a:custGeom>
              <a:avLst/>
              <a:gdLst>
                <a:gd name="T0" fmla="*/ 136 w 136"/>
                <a:gd name="T1" fmla="*/ 52 h 52"/>
                <a:gd name="T2" fmla="*/ 128 w 136"/>
                <a:gd name="T3" fmla="*/ 52 h 52"/>
                <a:gd name="T4" fmla="*/ 68 w 136"/>
                <a:gd name="T5" fmla="*/ 8 h 52"/>
                <a:gd name="T6" fmla="*/ 8 w 136"/>
                <a:gd name="T7" fmla="*/ 52 h 52"/>
                <a:gd name="T8" fmla="*/ 0 w 136"/>
                <a:gd name="T9" fmla="*/ 52 h 52"/>
                <a:gd name="T10" fmla="*/ 68 w 136"/>
                <a:gd name="T11" fmla="*/ 0 h 52"/>
                <a:gd name="T12" fmla="*/ 136 w 13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52">
                  <a:moveTo>
                    <a:pt x="136" y="52"/>
                  </a:moveTo>
                  <a:cubicBezTo>
                    <a:pt x="128" y="52"/>
                    <a:pt x="128" y="52"/>
                    <a:pt x="128" y="52"/>
                  </a:cubicBezTo>
                  <a:cubicBezTo>
                    <a:pt x="128" y="28"/>
                    <a:pt x="101" y="8"/>
                    <a:pt x="68" y="8"/>
                  </a:cubicBezTo>
                  <a:cubicBezTo>
                    <a:pt x="35" y="8"/>
                    <a:pt x="8" y="28"/>
                    <a:pt x="8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31" y="0"/>
                    <a:pt x="68" y="0"/>
                  </a:cubicBezTo>
                  <a:cubicBezTo>
                    <a:pt x="105" y="0"/>
                    <a:pt x="136" y="23"/>
                    <a:pt x="136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6" name="Rectangle 23">
              <a:extLst>
                <a:ext uri="{FF2B5EF4-FFF2-40B4-BE49-F238E27FC236}">
                  <a16:creationId xmlns:a16="http://schemas.microsoft.com/office/drawing/2014/main" id="{B789226E-AF9C-440E-9FAF-9E669AB0C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1163" y="2211389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" name="Rectangle 24">
              <a:extLst>
                <a:ext uri="{FF2B5EF4-FFF2-40B4-BE49-F238E27FC236}">
                  <a16:creationId xmlns:a16="http://schemas.microsoft.com/office/drawing/2014/main" id="{C3A56580-37BA-4F50-8F87-3AFC771AC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1163" y="2241551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8" name="Rectangle 25">
              <a:extLst>
                <a:ext uri="{FF2B5EF4-FFF2-40B4-BE49-F238E27FC236}">
                  <a16:creationId xmlns:a16="http://schemas.microsoft.com/office/drawing/2014/main" id="{48E0E8A6-7DA6-4F03-8158-F474E5141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1163" y="2273301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Rectangle 26">
              <a:extLst>
                <a:ext uri="{FF2B5EF4-FFF2-40B4-BE49-F238E27FC236}">
                  <a16:creationId xmlns:a16="http://schemas.microsoft.com/office/drawing/2014/main" id="{1610C94F-54B8-4A76-A392-87D2B4E58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6738" y="2249489"/>
              <a:ext cx="15875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0" name="Rectangle 27">
              <a:extLst>
                <a:ext uri="{FF2B5EF4-FFF2-40B4-BE49-F238E27FC236}">
                  <a16:creationId xmlns:a16="http://schemas.microsoft.com/office/drawing/2014/main" id="{B6B46AF0-018B-4F70-BE43-500E633326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6738" y="2008189"/>
              <a:ext cx="15875" cy="133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BF0D660F-BEBA-4223-970D-7E039FB4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0863" y="2133601"/>
              <a:ext cx="46038" cy="123825"/>
            </a:xfrm>
            <a:custGeom>
              <a:avLst/>
              <a:gdLst>
                <a:gd name="T0" fmla="*/ 16 w 24"/>
                <a:gd name="T1" fmla="*/ 64 h 64"/>
                <a:gd name="T2" fmla="*/ 8 w 24"/>
                <a:gd name="T3" fmla="*/ 64 h 64"/>
                <a:gd name="T4" fmla="*/ 0 w 24"/>
                <a:gd name="T5" fmla="*/ 56 h 64"/>
                <a:gd name="T6" fmla="*/ 0 w 24"/>
                <a:gd name="T7" fmla="*/ 8 h 64"/>
                <a:gd name="T8" fmla="*/ 8 w 24"/>
                <a:gd name="T9" fmla="*/ 0 h 64"/>
                <a:gd name="T10" fmla="*/ 16 w 24"/>
                <a:gd name="T11" fmla="*/ 0 h 64"/>
                <a:gd name="T12" fmla="*/ 24 w 24"/>
                <a:gd name="T13" fmla="*/ 8 h 64"/>
                <a:gd name="T14" fmla="*/ 24 w 24"/>
                <a:gd name="T15" fmla="*/ 56 h 64"/>
                <a:gd name="T16" fmla="*/ 16 w 24"/>
                <a:gd name="T17" fmla="*/ 64 h 64"/>
                <a:gd name="T18" fmla="*/ 8 w 24"/>
                <a:gd name="T19" fmla="*/ 8 h 64"/>
                <a:gd name="T20" fmla="*/ 8 w 24"/>
                <a:gd name="T21" fmla="*/ 56 h 64"/>
                <a:gd name="T22" fmla="*/ 16 w 24"/>
                <a:gd name="T23" fmla="*/ 56 h 64"/>
                <a:gd name="T24" fmla="*/ 16 w 24"/>
                <a:gd name="T25" fmla="*/ 8 h 64"/>
                <a:gd name="T26" fmla="*/ 8 w 24"/>
                <a:gd name="T27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64">
                  <a:moveTo>
                    <a:pt x="16" y="64"/>
                  </a:moveTo>
                  <a:cubicBezTo>
                    <a:pt x="8" y="64"/>
                    <a:pt x="8" y="64"/>
                    <a:pt x="8" y="64"/>
                  </a:cubicBezTo>
                  <a:cubicBezTo>
                    <a:pt x="4" y="64"/>
                    <a:pt x="0" y="60"/>
                    <a:pt x="0" y="5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0"/>
                    <a:pt x="24" y="3"/>
                    <a:pt x="24" y="8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60"/>
                    <a:pt x="20" y="64"/>
                    <a:pt x="16" y="64"/>
                  </a:cubicBezTo>
                  <a:close/>
                  <a:moveTo>
                    <a:pt x="8" y="8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8"/>
                    <a:pt x="16" y="8"/>
                    <a:pt x="16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2" name="Rectangle 29">
              <a:extLst>
                <a:ext uri="{FF2B5EF4-FFF2-40B4-BE49-F238E27FC236}">
                  <a16:creationId xmlns:a16="http://schemas.microsoft.com/office/drawing/2014/main" id="{3CB74D3F-E155-45DB-98CF-3663E5FD97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176" y="2249489"/>
              <a:ext cx="1428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3" name="Rectangle 30">
              <a:extLst>
                <a:ext uri="{FF2B5EF4-FFF2-40B4-BE49-F238E27FC236}">
                  <a16:creationId xmlns:a16="http://schemas.microsoft.com/office/drawing/2014/main" id="{E304AB4C-90C4-4397-93C6-C523E301E0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176" y="2008189"/>
              <a:ext cx="14288" cy="133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13F959E8-B4E7-4B8A-949C-990E87ED46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1301" y="2133601"/>
              <a:ext cx="46038" cy="123825"/>
            </a:xfrm>
            <a:custGeom>
              <a:avLst/>
              <a:gdLst>
                <a:gd name="T0" fmla="*/ 16 w 24"/>
                <a:gd name="T1" fmla="*/ 64 h 64"/>
                <a:gd name="T2" fmla="*/ 8 w 24"/>
                <a:gd name="T3" fmla="*/ 64 h 64"/>
                <a:gd name="T4" fmla="*/ 0 w 24"/>
                <a:gd name="T5" fmla="*/ 56 h 64"/>
                <a:gd name="T6" fmla="*/ 0 w 24"/>
                <a:gd name="T7" fmla="*/ 8 h 64"/>
                <a:gd name="T8" fmla="*/ 8 w 24"/>
                <a:gd name="T9" fmla="*/ 0 h 64"/>
                <a:gd name="T10" fmla="*/ 16 w 24"/>
                <a:gd name="T11" fmla="*/ 0 h 64"/>
                <a:gd name="T12" fmla="*/ 24 w 24"/>
                <a:gd name="T13" fmla="*/ 8 h 64"/>
                <a:gd name="T14" fmla="*/ 24 w 24"/>
                <a:gd name="T15" fmla="*/ 56 h 64"/>
                <a:gd name="T16" fmla="*/ 16 w 24"/>
                <a:gd name="T17" fmla="*/ 64 h 64"/>
                <a:gd name="T18" fmla="*/ 8 w 24"/>
                <a:gd name="T19" fmla="*/ 8 h 64"/>
                <a:gd name="T20" fmla="*/ 8 w 24"/>
                <a:gd name="T21" fmla="*/ 56 h 64"/>
                <a:gd name="T22" fmla="*/ 16 w 24"/>
                <a:gd name="T23" fmla="*/ 56 h 64"/>
                <a:gd name="T24" fmla="*/ 16 w 24"/>
                <a:gd name="T25" fmla="*/ 8 h 64"/>
                <a:gd name="T26" fmla="*/ 8 w 24"/>
                <a:gd name="T27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64">
                  <a:moveTo>
                    <a:pt x="16" y="64"/>
                  </a:moveTo>
                  <a:cubicBezTo>
                    <a:pt x="8" y="64"/>
                    <a:pt x="8" y="64"/>
                    <a:pt x="8" y="64"/>
                  </a:cubicBezTo>
                  <a:cubicBezTo>
                    <a:pt x="4" y="64"/>
                    <a:pt x="0" y="60"/>
                    <a:pt x="0" y="5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0"/>
                    <a:pt x="24" y="3"/>
                    <a:pt x="24" y="8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60"/>
                    <a:pt x="20" y="64"/>
                    <a:pt x="16" y="64"/>
                  </a:cubicBezTo>
                  <a:close/>
                  <a:moveTo>
                    <a:pt x="8" y="8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8"/>
                    <a:pt x="16" y="8"/>
                    <a:pt x="16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55" name="Title 1">
            <a:extLst>
              <a:ext uri="{FF2B5EF4-FFF2-40B4-BE49-F238E27FC236}">
                <a16:creationId xmlns:a16="http://schemas.microsoft.com/office/drawing/2014/main" id="{06A40D12-8EF7-4033-963F-F8588F929D34}"/>
              </a:ext>
            </a:extLst>
          </p:cNvPr>
          <p:cNvSpPr txBox="1">
            <a:spLocks/>
          </p:cNvSpPr>
          <p:nvPr/>
        </p:nvSpPr>
        <p:spPr>
          <a:xfrm>
            <a:off x="2069880" y="4398143"/>
            <a:ext cx="7702869" cy="265424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lvl="0" defTabSz="685800">
              <a:lnSpc>
                <a:spcPct val="90000"/>
              </a:lnSpc>
              <a:buNone/>
              <a:defRPr sz="4000" b="1" i="0" kern="800" cap="all" spc="108" baseline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85799"/>
            <a:r>
              <a:rPr lang="en-US" dirty="0">
                <a:solidFill>
                  <a:schemeClr val="tx2"/>
                </a:solidFill>
              </a:rPr>
              <a:t>ON-LINE </a:t>
            </a:r>
            <a:r>
              <a:rPr lang="ru-RU" dirty="0">
                <a:solidFill>
                  <a:schemeClr val="tx2"/>
                </a:solidFill>
              </a:rPr>
              <a:t>чек 24/7*</a:t>
            </a:r>
            <a:endParaRPr lang="en-US" dirty="0">
              <a:solidFill>
                <a:schemeClr val="tx2"/>
              </a:solidFill>
            </a:endParaRPr>
          </a:p>
          <a:p>
            <a:pPr marL="457200" indent="-457200" defTabSz="685799">
              <a:buFontTx/>
              <a:buChar char="-"/>
            </a:pPr>
            <a:r>
              <a:rPr lang="ru-RU" sz="2800" b="0" dirty="0">
                <a:solidFill>
                  <a:schemeClr val="tx2"/>
                </a:solidFill>
              </a:rPr>
              <a:t>СВОЕВРЕМЕННОЙ Отгрузки объемов</a:t>
            </a:r>
          </a:p>
          <a:p>
            <a:pPr marL="457200" indent="-457200" defTabSz="685799">
              <a:buFontTx/>
              <a:buChar char="-"/>
            </a:pPr>
            <a:r>
              <a:rPr lang="ru-RU" sz="2800" b="0" dirty="0">
                <a:solidFill>
                  <a:schemeClr val="tx2"/>
                </a:solidFill>
              </a:rPr>
              <a:t>Медийных показателей</a:t>
            </a:r>
          </a:p>
          <a:p>
            <a:pPr marL="457200" indent="-457200" defTabSz="685799">
              <a:buFontTx/>
              <a:buChar char="-"/>
            </a:pPr>
            <a:r>
              <a:rPr lang="ru-RU" sz="2800" b="0" dirty="0">
                <a:solidFill>
                  <a:schemeClr val="tx2"/>
                </a:solidFill>
              </a:rPr>
              <a:t>Уведомления о сбоях в размещении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03079053-C392-4D62-BE99-89A15360E916}"/>
              </a:ext>
            </a:extLst>
          </p:cNvPr>
          <p:cNvSpPr txBox="1">
            <a:spLocks/>
          </p:cNvSpPr>
          <p:nvPr/>
        </p:nvSpPr>
        <p:spPr>
          <a:xfrm>
            <a:off x="11628137" y="4398143"/>
            <a:ext cx="7345735" cy="265424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lvl="0" defTabSz="685800">
              <a:lnSpc>
                <a:spcPct val="90000"/>
              </a:lnSpc>
              <a:buNone/>
              <a:defRPr sz="4000" b="1" i="0" kern="800" cap="all" spc="108" baseline="0">
                <a:solidFill>
                  <a:srgbClr val="4454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85799"/>
            <a:r>
              <a:rPr lang="ru-RU" dirty="0">
                <a:solidFill>
                  <a:schemeClr val="tx2"/>
                </a:solidFill>
              </a:rPr>
              <a:t>ДОКУМЕНТАЦИЯ**</a:t>
            </a:r>
            <a:endParaRPr lang="en-US" dirty="0">
              <a:solidFill>
                <a:schemeClr val="tx2"/>
              </a:solidFill>
            </a:endParaRPr>
          </a:p>
          <a:p>
            <a:pPr marL="457200" indent="-457200" defTabSz="685799">
              <a:buFontTx/>
              <a:buChar char="-"/>
            </a:pPr>
            <a:r>
              <a:rPr lang="ru-RU" sz="2800" b="0" dirty="0">
                <a:solidFill>
                  <a:schemeClr val="tx2"/>
                </a:solidFill>
              </a:rPr>
              <a:t>Формирование файлов для клиента с промежуточной И ФИНАЛЬНОЙ статистикой</a:t>
            </a:r>
          </a:p>
          <a:p>
            <a:pPr marL="457200" indent="-457200" defTabSz="685799">
              <a:buFontTx/>
              <a:buChar char="-"/>
            </a:pPr>
            <a:endParaRPr lang="ru-RU" sz="2800" b="0" dirty="0">
              <a:solidFill>
                <a:schemeClr val="tx2"/>
              </a:solidFill>
            </a:endParaRPr>
          </a:p>
        </p:txBody>
      </p:sp>
      <p:sp>
        <p:nvSpPr>
          <p:cNvPr id="58" name="Полилиния 60">
            <a:extLst>
              <a:ext uri="{FF2B5EF4-FFF2-40B4-BE49-F238E27FC236}">
                <a16:creationId xmlns:a16="http://schemas.microsoft.com/office/drawing/2014/main" id="{2E4F20C9-8B80-4C28-A040-64E05695946E}"/>
              </a:ext>
            </a:extLst>
          </p:cNvPr>
          <p:cNvSpPr/>
          <p:nvPr/>
        </p:nvSpPr>
        <p:spPr>
          <a:xfrm rot="8100000">
            <a:off x="9769876" y="5281953"/>
            <a:ext cx="796107" cy="796107"/>
          </a:xfrm>
          <a:custGeom>
            <a:avLst/>
            <a:gdLst>
              <a:gd name="connsiteX0" fmla="*/ 0 w 784091"/>
              <a:gd name="connsiteY0" fmla="*/ 0 h 784091"/>
              <a:gd name="connsiteX1" fmla="*/ 784091 w 784091"/>
              <a:gd name="connsiteY1" fmla="*/ 0 h 784091"/>
              <a:gd name="connsiteX2" fmla="*/ 784091 w 784091"/>
              <a:gd name="connsiteY2" fmla="*/ 3 h 784091"/>
              <a:gd name="connsiteX3" fmla="*/ 3 w 784091"/>
              <a:gd name="connsiteY3" fmla="*/ 784091 h 784091"/>
              <a:gd name="connsiteX4" fmla="*/ 0 w 784091"/>
              <a:gd name="connsiteY4" fmla="*/ 784091 h 784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4091" h="784091">
                <a:moveTo>
                  <a:pt x="0" y="0"/>
                </a:moveTo>
                <a:lnTo>
                  <a:pt x="784091" y="0"/>
                </a:lnTo>
                <a:lnTo>
                  <a:pt x="784091" y="3"/>
                </a:lnTo>
                <a:lnTo>
                  <a:pt x="3" y="784091"/>
                </a:lnTo>
                <a:lnTo>
                  <a:pt x="0" y="784091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46818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2</a:t>
            </a:fld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E76D8FA-AE03-4172-848D-F2F24E2B1BC4}"/>
              </a:ext>
            </a:extLst>
          </p:cNvPr>
          <p:cNvGrpSpPr/>
          <p:nvPr/>
        </p:nvGrpSpPr>
        <p:grpSpPr>
          <a:xfrm>
            <a:off x="6417717" y="4114016"/>
            <a:ext cx="6166938" cy="3527201"/>
            <a:chOff x="4047211" y="3022029"/>
            <a:chExt cx="10470589" cy="5988689"/>
          </a:xfrm>
        </p:grpSpPr>
        <p:sp>
          <p:nvSpPr>
            <p:cNvPr id="14" name="Freeform 580">
              <a:extLst>
                <a:ext uri="{FF2B5EF4-FFF2-40B4-BE49-F238E27FC236}">
                  <a16:creationId xmlns:a16="http://schemas.microsoft.com/office/drawing/2014/main" id="{41697E2B-75A0-4DF6-A1EF-EF17327AEC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83618" y="3022029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581">
              <a:extLst>
                <a:ext uri="{FF2B5EF4-FFF2-40B4-BE49-F238E27FC236}">
                  <a16:creationId xmlns:a16="http://schemas.microsoft.com/office/drawing/2014/main" id="{B0A1982A-24A6-4A72-AA00-C623ACD562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83618" y="8264518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582">
              <a:extLst>
                <a:ext uri="{FF2B5EF4-FFF2-40B4-BE49-F238E27FC236}">
                  <a16:creationId xmlns:a16="http://schemas.microsoft.com/office/drawing/2014/main" id="{5F541A2C-9C80-4D15-B164-438198C854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4027" y="4246552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583">
              <a:extLst>
                <a:ext uri="{FF2B5EF4-FFF2-40B4-BE49-F238E27FC236}">
                  <a16:creationId xmlns:a16="http://schemas.microsoft.com/office/drawing/2014/main" id="{EF744A36-404F-448E-BE89-6F533BD7DB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7211" y="7248913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585">
              <a:extLst>
                <a:ext uri="{FF2B5EF4-FFF2-40B4-BE49-F238E27FC236}">
                  <a16:creationId xmlns:a16="http://schemas.microsoft.com/office/drawing/2014/main" id="{34A2CF46-5008-4D1E-92FA-78CD8B76DB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04868" y="7039995"/>
              <a:ext cx="746200" cy="7462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586">
              <a:extLst>
                <a:ext uri="{FF2B5EF4-FFF2-40B4-BE49-F238E27FC236}">
                  <a16:creationId xmlns:a16="http://schemas.microsoft.com/office/drawing/2014/main" id="{5AF4C147-D05C-416A-889F-027521084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7430" y="4897080"/>
              <a:ext cx="2238587" cy="2238587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8 h 96"/>
                <a:gd name="T12" fmla="*/ 8 w 96"/>
                <a:gd name="T13" fmla="*/ 48 h 96"/>
                <a:gd name="T14" fmla="*/ 48 w 96"/>
                <a:gd name="T15" fmla="*/ 88 h 96"/>
                <a:gd name="T16" fmla="*/ 88 w 96"/>
                <a:gd name="T17" fmla="*/ 48 h 96"/>
                <a:gd name="T18" fmla="*/ 48 w 96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1" y="96"/>
                    <a:pt x="0" y="75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75"/>
                    <a:pt x="74" y="96"/>
                    <a:pt x="48" y="96"/>
                  </a:cubicBezTo>
                  <a:close/>
                  <a:moveTo>
                    <a:pt x="48" y="8"/>
                  </a:moveTo>
                  <a:cubicBezTo>
                    <a:pt x="26" y="8"/>
                    <a:pt x="8" y="26"/>
                    <a:pt x="8" y="48"/>
                  </a:cubicBezTo>
                  <a:cubicBezTo>
                    <a:pt x="8" y="70"/>
                    <a:pt x="26" y="88"/>
                    <a:pt x="48" y="88"/>
                  </a:cubicBezTo>
                  <a:cubicBezTo>
                    <a:pt x="70" y="88"/>
                    <a:pt x="88" y="70"/>
                    <a:pt x="88" y="48"/>
                  </a:cubicBezTo>
                  <a:cubicBezTo>
                    <a:pt x="88" y="26"/>
                    <a:pt x="70" y="8"/>
                    <a:pt x="48" y="8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587">
              <a:extLst>
                <a:ext uri="{FF2B5EF4-FFF2-40B4-BE49-F238E27FC236}">
                  <a16:creationId xmlns:a16="http://schemas.microsoft.com/office/drawing/2014/main" id="{EE73E525-3B16-4E37-A4CC-8FFE7FEB15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3894" y="4514416"/>
              <a:ext cx="2984774" cy="3003914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28 w 128"/>
                <a:gd name="T7" fmla="*/ 64 h 128"/>
                <a:gd name="T8" fmla="*/ 64 w 128"/>
                <a:gd name="T9" fmla="*/ 128 h 128"/>
                <a:gd name="T10" fmla="*/ 64 w 128"/>
                <a:gd name="T11" fmla="*/ 8 h 128"/>
                <a:gd name="T12" fmla="*/ 8 w 128"/>
                <a:gd name="T13" fmla="*/ 64 h 128"/>
                <a:gd name="T14" fmla="*/ 64 w 128"/>
                <a:gd name="T15" fmla="*/ 120 h 128"/>
                <a:gd name="T16" fmla="*/ 120 w 128"/>
                <a:gd name="T17" fmla="*/ 64 h 128"/>
                <a:gd name="T18" fmla="*/ 64 w 128"/>
                <a:gd name="T19" fmla="*/ 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8" y="128"/>
                    <a:pt x="0" y="100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100"/>
                    <a:pt x="99" y="128"/>
                    <a:pt x="64" y="128"/>
                  </a:cubicBezTo>
                  <a:close/>
                  <a:moveTo>
                    <a:pt x="64" y="8"/>
                  </a:moveTo>
                  <a:cubicBezTo>
                    <a:pt x="33" y="8"/>
                    <a:pt x="8" y="33"/>
                    <a:pt x="8" y="64"/>
                  </a:cubicBezTo>
                  <a:cubicBezTo>
                    <a:pt x="8" y="95"/>
                    <a:pt x="33" y="120"/>
                    <a:pt x="64" y="120"/>
                  </a:cubicBezTo>
                  <a:cubicBezTo>
                    <a:pt x="95" y="120"/>
                    <a:pt x="120" y="95"/>
                    <a:pt x="120" y="64"/>
                  </a:cubicBezTo>
                  <a:cubicBezTo>
                    <a:pt x="120" y="33"/>
                    <a:pt x="95" y="8"/>
                    <a:pt x="64" y="8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588">
              <a:extLst>
                <a:ext uri="{FF2B5EF4-FFF2-40B4-BE49-F238E27FC236}">
                  <a16:creationId xmlns:a16="http://schemas.microsoft.com/office/drawing/2014/main" id="{94C2ABE2-6ECE-4F64-98E6-BB559B7D02A2}"/>
                </a:ext>
              </a:extLst>
            </p:cNvPr>
            <p:cNvSpPr>
              <a:spLocks/>
            </p:cNvSpPr>
            <p:nvPr/>
          </p:nvSpPr>
          <p:spPr bwMode="auto">
            <a:xfrm rot="21429763">
              <a:off x="4456125" y="6699738"/>
              <a:ext cx="4042317" cy="822732"/>
            </a:xfrm>
            <a:custGeom>
              <a:avLst/>
              <a:gdLst>
                <a:gd name="T0" fmla="*/ 5 w 69"/>
                <a:gd name="T1" fmla="*/ 43 h 43"/>
                <a:gd name="T2" fmla="*/ 0 w 69"/>
                <a:gd name="T3" fmla="*/ 34 h 43"/>
                <a:gd name="T4" fmla="*/ 64 w 69"/>
                <a:gd name="T5" fmla="*/ 0 h 43"/>
                <a:gd name="T6" fmla="*/ 69 w 69"/>
                <a:gd name="T7" fmla="*/ 9 h 43"/>
                <a:gd name="T8" fmla="*/ 5 w 69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3">
                  <a:moveTo>
                    <a:pt x="5" y="43"/>
                  </a:moveTo>
                  <a:lnTo>
                    <a:pt x="0" y="34"/>
                  </a:lnTo>
                  <a:lnTo>
                    <a:pt x="64" y="0"/>
                  </a:lnTo>
                  <a:lnTo>
                    <a:pt x="69" y="9"/>
                  </a:lnTo>
                  <a:lnTo>
                    <a:pt x="5" y="43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589">
              <a:extLst>
                <a:ext uri="{FF2B5EF4-FFF2-40B4-BE49-F238E27FC236}">
                  <a16:creationId xmlns:a16="http://schemas.microsoft.com/office/drawing/2014/main" id="{6BA70756-5E37-4A28-8E49-178D326CD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3205" y="4629215"/>
              <a:ext cx="2340000" cy="822732"/>
            </a:xfrm>
            <a:custGeom>
              <a:avLst/>
              <a:gdLst>
                <a:gd name="T0" fmla="*/ 64 w 69"/>
                <a:gd name="T1" fmla="*/ 43 h 43"/>
                <a:gd name="T2" fmla="*/ 0 w 69"/>
                <a:gd name="T3" fmla="*/ 9 h 43"/>
                <a:gd name="T4" fmla="*/ 5 w 69"/>
                <a:gd name="T5" fmla="*/ 0 h 43"/>
                <a:gd name="T6" fmla="*/ 69 w 69"/>
                <a:gd name="T7" fmla="*/ 35 h 43"/>
                <a:gd name="T8" fmla="*/ 64 w 69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3">
                  <a:moveTo>
                    <a:pt x="64" y="43"/>
                  </a:moveTo>
                  <a:lnTo>
                    <a:pt x="0" y="9"/>
                  </a:lnTo>
                  <a:lnTo>
                    <a:pt x="5" y="0"/>
                  </a:lnTo>
                  <a:lnTo>
                    <a:pt x="69" y="35"/>
                  </a:lnTo>
                  <a:lnTo>
                    <a:pt x="64" y="43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9" name="Rectangle 590">
              <a:extLst>
                <a:ext uri="{FF2B5EF4-FFF2-40B4-BE49-F238E27FC236}">
                  <a16:creationId xmlns:a16="http://schemas.microsoft.com/office/drawing/2014/main" id="{E181A337-D8A6-4EA4-9B22-A07D502382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70622" y="3672557"/>
              <a:ext cx="191332" cy="937531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0" name="Freeform 591">
              <a:extLst>
                <a:ext uri="{FF2B5EF4-FFF2-40B4-BE49-F238E27FC236}">
                  <a16:creationId xmlns:a16="http://schemas.microsoft.com/office/drawing/2014/main" id="{557B610F-A670-45C7-A3C5-76CBDC74E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9624" y="4629215"/>
              <a:ext cx="3420000" cy="822732"/>
            </a:xfrm>
            <a:custGeom>
              <a:avLst/>
              <a:gdLst>
                <a:gd name="T0" fmla="*/ 5 w 68"/>
                <a:gd name="T1" fmla="*/ 43 h 43"/>
                <a:gd name="T2" fmla="*/ 0 w 68"/>
                <a:gd name="T3" fmla="*/ 35 h 43"/>
                <a:gd name="T4" fmla="*/ 63 w 68"/>
                <a:gd name="T5" fmla="*/ 0 h 43"/>
                <a:gd name="T6" fmla="*/ 68 w 68"/>
                <a:gd name="T7" fmla="*/ 9 h 43"/>
                <a:gd name="T8" fmla="*/ 5 w 68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3">
                  <a:moveTo>
                    <a:pt x="5" y="43"/>
                  </a:moveTo>
                  <a:lnTo>
                    <a:pt x="0" y="35"/>
                  </a:lnTo>
                  <a:lnTo>
                    <a:pt x="63" y="0"/>
                  </a:lnTo>
                  <a:lnTo>
                    <a:pt x="68" y="9"/>
                  </a:lnTo>
                  <a:lnTo>
                    <a:pt x="5" y="43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1" name="Freeform 592">
              <a:extLst>
                <a:ext uri="{FF2B5EF4-FFF2-40B4-BE49-F238E27FC236}">
                  <a16:creationId xmlns:a16="http://schemas.microsoft.com/office/drawing/2014/main" id="{4B5239AB-3EA2-417F-BD4C-AFE427CE5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3411" y="6599938"/>
              <a:ext cx="1301056" cy="822732"/>
            </a:xfrm>
            <a:custGeom>
              <a:avLst/>
              <a:gdLst>
                <a:gd name="T0" fmla="*/ 63 w 68"/>
                <a:gd name="T1" fmla="*/ 43 h 43"/>
                <a:gd name="T2" fmla="*/ 0 w 68"/>
                <a:gd name="T3" fmla="*/ 9 h 43"/>
                <a:gd name="T4" fmla="*/ 5 w 68"/>
                <a:gd name="T5" fmla="*/ 0 h 43"/>
                <a:gd name="T6" fmla="*/ 68 w 68"/>
                <a:gd name="T7" fmla="*/ 34 h 43"/>
                <a:gd name="T8" fmla="*/ 63 w 68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3">
                  <a:moveTo>
                    <a:pt x="63" y="43"/>
                  </a:moveTo>
                  <a:lnTo>
                    <a:pt x="0" y="9"/>
                  </a:lnTo>
                  <a:lnTo>
                    <a:pt x="5" y="0"/>
                  </a:lnTo>
                  <a:lnTo>
                    <a:pt x="68" y="34"/>
                  </a:lnTo>
                  <a:lnTo>
                    <a:pt x="63" y="43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2" name="Rectangle 593">
              <a:extLst>
                <a:ext uri="{FF2B5EF4-FFF2-40B4-BE49-F238E27FC236}">
                  <a16:creationId xmlns:a16="http://schemas.microsoft.com/office/drawing/2014/main" id="{381A6A67-A11B-4146-ACCC-EB4C6D6CB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70622" y="7422659"/>
              <a:ext cx="191332" cy="937531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3" name="Freeform 625">
              <a:extLst>
                <a:ext uri="{FF2B5EF4-FFF2-40B4-BE49-F238E27FC236}">
                  <a16:creationId xmlns:a16="http://schemas.microsoft.com/office/drawing/2014/main" id="{F3D2580A-4F75-4AA5-8C14-361CCD1582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87958" y="4897080"/>
              <a:ext cx="937531" cy="2238587"/>
            </a:xfrm>
            <a:custGeom>
              <a:avLst/>
              <a:gdLst>
                <a:gd name="T0" fmla="*/ 20 w 40"/>
                <a:gd name="T1" fmla="*/ 96 h 96"/>
                <a:gd name="T2" fmla="*/ 0 w 40"/>
                <a:gd name="T3" fmla="*/ 48 h 96"/>
                <a:gd name="T4" fmla="*/ 20 w 40"/>
                <a:gd name="T5" fmla="*/ 0 h 96"/>
                <a:gd name="T6" fmla="*/ 40 w 40"/>
                <a:gd name="T7" fmla="*/ 48 h 96"/>
                <a:gd name="T8" fmla="*/ 20 w 40"/>
                <a:gd name="T9" fmla="*/ 96 h 96"/>
                <a:gd name="T10" fmla="*/ 20 w 40"/>
                <a:gd name="T11" fmla="*/ 8 h 96"/>
                <a:gd name="T12" fmla="*/ 8 w 40"/>
                <a:gd name="T13" fmla="*/ 48 h 96"/>
                <a:gd name="T14" fmla="*/ 20 w 40"/>
                <a:gd name="T15" fmla="*/ 88 h 96"/>
                <a:gd name="T16" fmla="*/ 32 w 40"/>
                <a:gd name="T17" fmla="*/ 48 h 96"/>
                <a:gd name="T18" fmla="*/ 20 w 40"/>
                <a:gd name="T1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96">
                  <a:moveTo>
                    <a:pt x="20" y="96"/>
                  </a:moveTo>
                  <a:cubicBezTo>
                    <a:pt x="7" y="96"/>
                    <a:pt x="0" y="72"/>
                    <a:pt x="0" y="48"/>
                  </a:cubicBezTo>
                  <a:cubicBezTo>
                    <a:pt x="0" y="25"/>
                    <a:pt x="7" y="0"/>
                    <a:pt x="20" y="0"/>
                  </a:cubicBezTo>
                  <a:cubicBezTo>
                    <a:pt x="33" y="0"/>
                    <a:pt x="40" y="25"/>
                    <a:pt x="40" y="48"/>
                  </a:cubicBezTo>
                  <a:cubicBezTo>
                    <a:pt x="40" y="72"/>
                    <a:pt x="33" y="96"/>
                    <a:pt x="20" y="96"/>
                  </a:cubicBezTo>
                  <a:close/>
                  <a:moveTo>
                    <a:pt x="20" y="8"/>
                  </a:moveTo>
                  <a:cubicBezTo>
                    <a:pt x="15" y="8"/>
                    <a:pt x="8" y="24"/>
                    <a:pt x="8" y="48"/>
                  </a:cubicBezTo>
                  <a:cubicBezTo>
                    <a:pt x="8" y="72"/>
                    <a:pt x="15" y="88"/>
                    <a:pt x="20" y="88"/>
                  </a:cubicBezTo>
                  <a:cubicBezTo>
                    <a:pt x="25" y="88"/>
                    <a:pt x="32" y="72"/>
                    <a:pt x="32" y="48"/>
                  </a:cubicBezTo>
                  <a:cubicBezTo>
                    <a:pt x="32" y="24"/>
                    <a:pt x="25" y="8"/>
                    <a:pt x="20" y="8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4" name="Freeform 626">
              <a:extLst>
                <a:ext uri="{FF2B5EF4-FFF2-40B4-BE49-F238E27FC236}">
                  <a16:creationId xmlns:a16="http://schemas.microsoft.com/office/drawing/2014/main" id="{9E06CD30-1083-45CC-8A55-450A561488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7430" y="5547608"/>
              <a:ext cx="2238587" cy="937531"/>
            </a:xfrm>
            <a:custGeom>
              <a:avLst/>
              <a:gdLst>
                <a:gd name="T0" fmla="*/ 48 w 96"/>
                <a:gd name="T1" fmla="*/ 40 h 40"/>
                <a:gd name="T2" fmla="*/ 0 w 96"/>
                <a:gd name="T3" fmla="*/ 20 h 40"/>
                <a:gd name="T4" fmla="*/ 48 w 96"/>
                <a:gd name="T5" fmla="*/ 0 h 40"/>
                <a:gd name="T6" fmla="*/ 96 w 96"/>
                <a:gd name="T7" fmla="*/ 20 h 40"/>
                <a:gd name="T8" fmla="*/ 48 w 96"/>
                <a:gd name="T9" fmla="*/ 40 h 40"/>
                <a:gd name="T10" fmla="*/ 48 w 96"/>
                <a:gd name="T11" fmla="*/ 8 h 40"/>
                <a:gd name="T12" fmla="*/ 8 w 96"/>
                <a:gd name="T13" fmla="*/ 20 h 40"/>
                <a:gd name="T14" fmla="*/ 48 w 96"/>
                <a:gd name="T15" fmla="*/ 32 h 40"/>
                <a:gd name="T16" fmla="*/ 88 w 96"/>
                <a:gd name="T17" fmla="*/ 20 h 40"/>
                <a:gd name="T18" fmla="*/ 48 w 96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40">
                  <a:moveTo>
                    <a:pt x="48" y="40"/>
                  </a:moveTo>
                  <a:cubicBezTo>
                    <a:pt x="24" y="40"/>
                    <a:pt x="0" y="33"/>
                    <a:pt x="0" y="20"/>
                  </a:cubicBezTo>
                  <a:cubicBezTo>
                    <a:pt x="0" y="7"/>
                    <a:pt x="24" y="0"/>
                    <a:pt x="48" y="0"/>
                  </a:cubicBezTo>
                  <a:cubicBezTo>
                    <a:pt x="72" y="0"/>
                    <a:pt x="96" y="7"/>
                    <a:pt x="96" y="20"/>
                  </a:cubicBezTo>
                  <a:cubicBezTo>
                    <a:pt x="96" y="33"/>
                    <a:pt x="72" y="40"/>
                    <a:pt x="48" y="40"/>
                  </a:cubicBezTo>
                  <a:close/>
                  <a:moveTo>
                    <a:pt x="48" y="8"/>
                  </a:moveTo>
                  <a:cubicBezTo>
                    <a:pt x="24" y="8"/>
                    <a:pt x="8" y="16"/>
                    <a:pt x="8" y="20"/>
                  </a:cubicBezTo>
                  <a:cubicBezTo>
                    <a:pt x="8" y="25"/>
                    <a:pt x="24" y="32"/>
                    <a:pt x="48" y="32"/>
                  </a:cubicBezTo>
                  <a:cubicBezTo>
                    <a:pt x="72" y="32"/>
                    <a:pt x="88" y="25"/>
                    <a:pt x="88" y="20"/>
                  </a:cubicBezTo>
                  <a:cubicBezTo>
                    <a:pt x="88" y="16"/>
                    <a:pt x="72" y="8"/>
                    <a:pt x="48" y="8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584">
              <a:extLst>
                <a:ext uri="{FF2B5EF4-FFF2-40B4-BE49-F238E27FC236}">
                  <a16:creationId xmlns:a16="http://schemas.microsoft.com/office/drawing/2014/main" id="{5D3833DB-7A34-4F06-8868-21B5B150FF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71599" y="4221254"/>
              <a:ext cx="746201" cy="746201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8" y="21"/>
                    <a:pt x="11" y="24"/>
                    <a:pt x="16" y="24"/>
                  </a:cubicBezTo>
                  <a:cubicBezTo>
                    <a:pt x="20" y="24"/>
                    <a:pt x="24" y="21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D502D8-1FD6-4C35-8184-5CE6AEE2438A}"/>
              </a:ext>
            </a:extLst>
          </p:cNvPr>
          <p:cNvSpPr/>
          <p:nvPr/>
        </p:nvSpPr>
        <p:spPr>
          <a:xfrm>
            <a:off x="3940323" y="4141794"/>
            <a:ext cx="2409276" cy="46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КВОЗНЫ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67F5CE4-708C-4180-86F3-F1D707AA301E}"/>
              </a:ext>
            </a:extLst>
          </p:cNvPr>
          <p:cNvSpPr/>
          <p:nvPr/>
        </p:nvSpPr>
        <p:spPr>
          <a:xfrm>
            <a:off x="2705932" y="4608525"/>
            <a:ext cx="4865205" cy="742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000" kern="800" spc="54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ГРУЗКИ ПО ПРОЕКТАМ ДЛЯ РУКОВОДСТВА*</a:t>
            </a:r>
            <a:endParaRPr lang="en-US" sz="2000" kern="800" spc="54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BD08D5E-1EE3-4382-8BEA-E2DDD4EE2822}"/>
              </a:ext>
            </a:extLst>
          </p:cNvPr>
          <p:cNvSpPr/>
          <p:nvPr/>
        </p:nvSpPr>
        <p:spPr>
          <a:xfrm>
            <a:off x="2857599" y="6891068"/>
            <a:ext cx="4137227" cy="872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УТЫЕ ПРЕЗЕНТАЦИИ**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80FEB7E0-DC20-412E-8834-B8DC84665CAE}"/>
              </a:ext>
            </a:extLst>
          </p:cNvPr>
          <p:cNvSpPr/>
          <p:nvPr/>
        </p:nvSpPr>
        <p:spPr>
          <a:xfrm>
            <a:off x="10979524" y="6581440"/>
            <a:ext cx="5033366" cy="872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УЧАЮЩИЕ МАТЕРИАЛЫ**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CB655A50-4236-46A7-A860-6D651E0D8169}"/>
              </a:ext>
            </a:extLst>
          </p:cNvPr>
          <p:cNvSpPr/>
          <p:nvPr/>
        </p:nvSpPr>
        <p:spPr>
          <a:xfrm>
            <a:off x="12893202" y="4311180"/>
            <a:ext cx="3013925" cy="46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СПЕРТИЗА**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DA07A2B9-53DF-4546-A7B1-F77BD23D5D51}"/>
              </a:ext>
            </a:extLst>
          </p:cNvPr>
          <p:cNvSpPr/>
          <p:nvPr/>
        </p:nvSpPr>
        <p:spPr>
          <a:xfrm>
            <a:off x="12893202" y="4788233"/>
            <a:ext cx="4665339" cy="404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000" kern="800" spc="54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НАЛИТИЧЕСКИЕ НАРАБОТКИ***</a:t>
            </a:r>
            <a:endParaRPr lang="en-US" sz="2000" kern="800" spc="54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F1F908E2-D246-4876-AE47-5586C234C2A3}"/>
              </a:ext>
            </a:extLst>
          </p:cNvPr>
          <p:cNvSpPr/>
          <p:nvPr/>
        </p:nvSpPr>
        <p:spPr>
          <a:xfrm>
            <a:off x="8660559" y="8213437"/>
            <a:ext cx="3322747" cy="466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МПЛЕЙТЫ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4758769" y="367334"/>
            <a:ext cx="4938211" cy="461665"/>
          </a:xfrm>
          <a:prstGeom prst="rect">
            <a:avLst/>
          </a:prstGeom>
          <a:solidFill>
            <a:srgbClr val="CCFFCC"/>
          </a:solidFill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ПОЛНИТЕЛЬНО                      </a:t>
            </a:r>
            <a:endParaRPr lang="ru-RU" sz="2400" b="1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D1F8B82-67D4-4F3E-A631-A65A5CAE0C82}"/>
              </a:ext>
            </a:extLst>
          </p:cNvPr>
          <p:cNvSpPr txBox="1"/>
          <p:nvPr/>
        </p:nvSpPr>
        <p:spPr>
          <a:xfrm>
            <a:off x="548710" y="11302342"/>
            <a:ext cx="17842684" cy="1594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*ДАННЫЕ ПО ПРОЕКТАМ (БЮДЖЕТЫ, СЕГМЕНТЫ, КОМИТЫ И Т.П.)</a:t>
            </a:r>
          </a:p>
          <a:p>
            <a:r>
              <a:rPr lang="ru-RU" dirty="0"/>
              <a:t>**С ПОИСКОМ ПО КЛЮЧЕВЫМ СЛОВАМ</a:t>
            </a:r>
          </a:p>
          <a:p>
            <a:r>
              <a:rPr lang="ru-RU" dirty="0"/>
              <a:t>***эксперименты с таргетингами в разных сегментах</a:t>
            </a:r>
          </a:p>
          <a:p>
            <a:r>
              <a:rPr lang="ru-RU" dirty="0"/>
              <a:t> (например, кто-то в аг-ве оценивал для Клиента целесообразность размещения РК без таргетингов но ЦА 25-45 с целью снижения CPU - релевантно только в случае, если CPU будет ниже 30%)</a:t>
            </a:r>
          </a:p>
        </p:txBody>
      </p:sp>
      <p:pic>
        <p:nvPicPr>
          <p:cNvPr id="5" name="Рисунок 4" descr="Лампочка и карандаш">
            <a:extLst>
              <a:ext uri="{FF2B5EF4-FFF2-40B4-BE49-F238E27FC236}">
                <a16:creationId xmlns:a16="http://schemas.microsoft.com/office/drawing/2014/main" id="{1D25597B-1206-465F-8858-C9A116BD47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58856" y="2423253"/>
            <a:ext cx="914400" cy="914400"/>
          </a:xfrm>
          <a:prstGeom prst="rect">
            <a:avLst/>
          </a:prstGeom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8787AAD8-30BB-4F1B-A1E5-F90020AF8390}"/>
              </a:ext>
            </a:extLst>
          </p:cNvPr>
          <p:cNvSpPr/>
          <p:nvPr/>
        </p:nvSpPr>
        <p:spPr>
          <a:xfrm>
            <a:off x="8307390" y="2999604"/>
            <a:ext cx="3469404" cy="872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6975">
              <a:lnSpc>
                <a:spcPct val="110000"/>
              </a:lnSpc>
              <a:spcBef>
                <a:spcPts val="170"/>
              </a:spcBef>
              <a:spcAft>
                <a:spcPts val="1200"/>
              </a:spcAft>
            </a:pPr>
            <a:r>
              <a:rPr lang="ru-RU" sz="2400" b="1" kern="800" spc="3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АША ИДЕЯ БУДЕТ ТУТ</a:t>
            </a:r>
            <a:endParaRPr lang="en-US" sz="2400" b="1" kern="800" spc="3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02324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3</a:t>
            </a:fld>
            <a:endParaRPr lang="ru-RU" dirty="0"/>
          </a:p>
        </p:txBody>
      </p:sp>
      <p:sp>
        <p:nvSpPr>
          <p:cNvPr id="12" name="Rectangle 68">
            <a:extLst>
              <a:ext uri="{FF2B5EF4-FFF2-40B4-BE49-F238E27FC236}">
                <a16:creationId xmlns:a16="http://schemas.microsoft.com/office/drawing/2014/main" id="{24B203B1-21CB-4257-9D3E-C24E9E3622CD}"/>
              </a:ext>
            </a:extLst>
          </p:cNvPr>
          <p:cNvSpPr/>
          <p:nvPr/>
        </p:nvSpPr>
        <p:spPr>
          <a:xfrm>
            <a:off x="9429014" y="2779504"/>
            <a:ext cx="9432423" cy="7744378"/>
          </a:xfrm>
          <a:prstGeom prst="rect">
            <a:avLst/>
          </a:prstGeom>
          <a:solidFill>
            <a:srgbClr val="F3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CE95BFB6-C96A-4BC5-8859-0890274BA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ВИЗУАЛИЗАЦ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DAAA8DB-327C-4167-BA57-AD7EB8A919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3797" y="3368675"/>
            <a:ext cx="6696075" cy="663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262818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4</a:t>
            </a:fld>
            <a:endParaRPr lang="ru-RU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D1F8B82-67D4-4F3E-A631-A65A5CAE0C82}"/>
              </a:ext>
            </a:extLst>
          </p:cNvPr>
          <p:cNvSpPr txBox="1"/>
          <p:nvPr/>
        </p:nvSpPr>
        <p:spPr>
          <a:xfrm>
            <a:off x="548710" y="11302342"/>
            <a:ext cx="17842684" cy="1594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*ДАННЫЕ ПО ПРОЕКТАМ (БЮДЖЕТЫ, СЕГМЕНТЫ, КОМИТЫ И Т.П.)</a:t>
            </a:r>
          </a:p>
          <a:p>
            <a:r>
              <a:rPr lang="ru-RU" dirty="0"/>
              <a:t>**С ПОИСКОМ ПО КЛЮЧЕВЫМ СЛОВАМ</a:t>
            </a:r>
          </a:p>
          <a:p>
            <a:r>
              <a:rPr lang="ru-RU" dirty="0"/>
              <a:t>***эксперименты с таргетингами в разных сегментах</a:t>
            </a:r>
          </a:p>
          <a:p>
            <a:r>
              <a:rPr lang="ru-RU" dirty="0"/>
              <a:t> (например, кто-то в аг-ве оценивал для Клиента целесообразность размещения РК без таргетингов но ЦА 25-45 с целью снижения CPU - релевантно только в случае, если CPU будет ниже 30%)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1 - </a:t>
            </a:r>
            <a:r>
              <a:rPr lang="ru-RU" sz="9600" dirty="0"/>
              <a:t>СТАРТОВАЯ СТРАНИЦА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1465E74-7682-4B6C-9086-07B7981FFC83}"/>
              </a:ext>
            </a:extLst>
          </p:cNvPr>
          <p:cNvSpPr/>
          <p:nvPr/>
        </p:nvSpPr>
        <p:spPr>
          <a:xfrm>
            <a:off x="1984375" y="6049154"/>
            <a:ext cx="14895513" cy="1970087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>
            <a:hlinkClick r:id="rId2" action="ppaction://hlinksldjump"/>
            <a:extLst>
              <a:ext uri="{FF2B5EF4-FFF2-40B4-BE49-F238E27FC236}">
                <a16:creationId xmlns:a16="http://schemas.microsoft.com/office/drawing/2014/main" id="{C1E28C2B-7AF0-4A63-B4BB-CDB3C2AF75E0}"/>
              </a:ext>
            </a:extLst>
          </p:cNvPr>
          <p:cNvSpPr/>
          <p:nvPr/>
        </p:nvSpPr>
        <p:spPr>
          <a:xfrm>
            <a:off x="2022295" y="8469470"/>
            <a:ext cx="14895513" cy="533399"/>
          </a:xfrm>
          <a:prstGeom prst="rect">
            <a:avLst/>
          </a:prstGeom>
          <a:solidFill>
            <a:schemeClr val="tx1"/>
          </a:solidFill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ЗАВЕРШЕННЫЕ ПРОЕКТЫ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9512DDDE-8EF6-46AB-A852-01A02E2F9BB6}"/>
              </a:ext>
            </a:extLst>
          </p:cNvPr>
          <p:cNvSpPr/>
          <p:nvPr/>
        </p:nvSpPr>
        <p:spPr>
          <a:xfrm>
            <a:off x="1985168" y="2875757"/>
            <a:ext cx="2961405" cy="455071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hlinkClick r:id="rId3" action="ppaction://hlinksldjump"/>
              </a:rPr>
              <a:t>ПОДГОТОВИТЬ РАСЧЕТ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16F981E0-DFEB-45C7-A45C-465CC5999038}"/>
              </a:ext>
            </a:extLst>
          </p:cNvPr>
          <p:cNvSpPr/>
          <p:nvPr/>
        </p:nvSpPr>
        <p:spPr>
          <a:xfrm>
            <a:off x="1985168" y="3707590"/>
            <a:ext cx="14895513" cy="1970087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Заголовок 5">
            <a:extLst>
              <a:ext uri="{FF2B5EF4-FFF2-40B4-BE49-F238E27FC236}">
                <a16:creationId xmlns:a16="http://schemas.microsoft.com/office/drawing/2014/main" id="{08D5190D-92E5-4F39-B616-098F0F3254E5}"/>
              </a:ext>
            </a:extLst>
          </p:cNvPr>
          <p:cNvSpPr txBox="1">
            <a:spLocks/>
          </p:cNvSpPr>
          <p:nvPr/>
        </p:nvSpPr>
        <p:spPr>
          <a:xfrm rot="-5400000">
            <a:off x="344414" y="4360981"/>
            <a:ext cx="2479028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9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500" dirty="0"/>
              <a:t>Согласованные планы</a:t>
            </a:r>
          </a:p>
          <a:p>
            <a:r>
              <a:rPr lang="ru-RU" sz="1500" dirty="0"/>
              <a:t>инфо по запуску, статус открутки</a:t>
            </a:r>
          </a:p>
        </p:txBody>
      </p:sp>
      <p:sp>
        <p:nvSpPr>
          <p:cNvPr id="41" name="Заголовок 5">
            <a:extLst>
              <a:ext uri="{FF2B5EF4-FFF2-40B4-BE49-F238E27FC236}">
                <a16:creationId xmlns:a16="http://schemas.microsoft.com/office/drawing/2014/main" id="{94FF77EB-5456-4136-AE89-A38BC21C3D3A}"/>
              </a:ext>
            </a:extLst>
          </p:cNvPr>
          <p:cNvSpPr txBox="1">
            <a:spLocks/>
          </p:cNvSpPr>
          <p:nvPr/>
        </p:nvSpPr>
        <p:spPr>
          <a:xfrm rot="-5400000">
            <a:off x="274825" y="6712020"/>
            <a:ext cx="2479028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975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500" dirty="0"/>
              <a:t>Не Согласованные планы/ статус</a:t>
            </a:r>
          </a:p>
        </p:txBody>
      </p:sp>
      <p:sp>
        <p:nvSpPr>
          <p:cNvPr id="9" name="Прямоугольник: скругленные углы 8">
            <a:hlinkClick r:id="rId4" action="ppaction://hlinksldjump"/>
            <a:extLst>
              <a:ext uri="{FF2B5EF4-FFF2-40B4-BE49-F238E27FC236}">
                <a16:creationId xmlns:a16="http://schemas.microsoft.com/office/drawing/2014/main" id="{50F1BF9D-5B9A-4B0D-9E05-67C3E76E8EE2}"/>
              </a:ext>
            </a:extLst>
          </p:cNvPr>
          <p:cNvSpPr/>
          <p:nvPr/>
        </p:nvSpPr>
        <p:spPr>
          <a:xfrm>
            <a:off x="2185639" y="3944167"/>
            <a:ext cx="14496585" cy="437183"/>
          </a:xfrm>
          <a:prstGeom prst="round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Клиент1.1		/ запущен 16.05		/ статистика 24.05 /	этапы проекта	  </a:t>
            </a:r>
          </a:p>
        </p:txBody>
      </p:sp>
      <p:sp>
        <p:nvSpPr>
          <p:cNvPr id="42" name="Прямоугольник: скругленные углы 41">
            <a:extLst>
              <a:ext uri="{FF2B5EF4-FFF2-40B4-BE49-F238E27FC236}">
                <a16:creationId xmlns:a16="http://schemas.microsoft.com/office/drawing/2014/main" id="{7D4DE011-6681-4FAF-B2C0-3BE0057D6E64}"/>
              </a:ext>
            </a:extLst>
          </p:cNvPr>
          <p:cNvSpPr/>
          <p:nvPr/>
        </p:nvSpPr>
        <p:spPr>
          <a:xfrm>
            <a:off x="2183838" y="4520508"/>
            <a:ext cx="14496585" cy="437183"/>
          </a:xfrm>
          <a:prstGeom prst="round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Клиент1.2		/ подготовка к запуску, старт  27.05 / 		этапы проекта 	  </a:t>
            </a:r>
          </a:p>
        </p:txBody>
      </p:sp>
      <p:sp>
        <p:nvSpPr>
          <p:cNvPr id="43" name="Прямоугольник: скругленные углы 42">
            <a:extLst>
              <a:ext uri="{FF2B5EF4-FFF2-40B4-BE49-F238E27FC236}">
                <a16:creationId xmlns:a16="http://schemas.microsoft.com/office/drawing/2014/main" id="{0A774EDC-5786-4E30-A016-96293B55E099}"/>
              </a:ext>
            </a:extLst>
          </p:cNvPr>
          <p:cNvSpPr/>
          <p:nvPr/>
        </p:nvSpPr>
        <p:spPr>
          <a:xfrm>
            <a:off x="2183837" y="5096849"/>
            <a:ext cx="14496585" cy="437183"/>
          </a:xfrm>
          <a:prstGeom prst="round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Клиент1.3		/ открутился 15.05/ 	 / отчет 01.06 / 		этапы проекта 	  </a:t>
            </a:r>
          </a:p>
        </p:txBody>
      </p:sp>
      <p:sp>
        <p:nvSpPr>
          <p:cNvPr id="11" name="Выноска: стрелка влево 10">
            <a:extLst>
              <a:ext uri="{FF2B5EF4-FFF2-40B4-BE49-F238E27FC236}">
                <a16:creationId xmlns:a16="http://schemas.microsoft.com/office/drawing/2014/main" id="{EB103494-B3F3-4233-A83B-DD9FC1CA7BB9}"/>
              </a:ext>
            </a:extLst>
          </p:cNvPr>
          <p:cNvSpPr/>
          <p:nvPr/>
        </p:nvSpPr>
        <p:spPr>
          <a:xfrm>
            <a:off x="13029673" y="3103292"/>
            <a:ext cx="4443710" cy="3254284"/>
          </a:xfrm>
          <a:prstGeom prst="leftArrowCallou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[</a:t>
            </a:r>
            <a:r>
              <a:rPr lang="ru-RU" sz="1100" b="1" dirty="0">
                <a:solidFill>
                  <a:schemeClr val="tx1"/>
                </a:solidFill>
              </a:rPr>
              <a:t>При наведении детализированная информация</a:t>
            </a:r>
            <a:r>
              <a:rPr lang="en-US" sz="1100" b="1" dirty="0">
                <a:solidFill>
                  <a:schemeClr val="tx1"/>
                </a:solidFill>
              </a:rPr>
              <a:t>]</a:t>
            </a:r>
          </a:p>
          <a:p>
            <a:r>
              <a:rPr lang="ru-RU" sz="1300" b="1" u="sng" dirty="0">
                <a:solidFill>
                  <a:schemeClr val="tx1"/>
                </a:solidFill>
              </a:rPr>
              <a:t>История:</a:t>
            </a:r>
            <a:endParaRPr lang="ru-RU" sz="1300" dirty="0">
              <a:solidFill>
                <a:schemeClr val="tx1"/>
              </a:solidFill>
            </a:endParaRPr>
          </a:p>
          <a:p>
            <a:r>
              <a:rPr lang="en-US" sz="1300" dirty="0">
                <a:solidFill>
                  <a:schemeClr val="tx1"/>
                </a:solidFill>
              </a:rPr>
              <a:t>30.04 – </a:t>
            </a:r>
            <a:r>
              <a:rPr lang="ru-RU" sz="1300" dirty="0">
                <a:solidFill>
                  <a:schemeClr val="tx1"/>
                </a:solidFill>
              </a:rPr>
              <a:t>согласован МП</a:t>
            </a:r>
          </a:p>
          <a:p>
            <a:r>
              <a:rPr lang="ru-RU" sz="1300" dirty="0">
                <a:solidFill>
                  <a:schemeClr val="tx1"/>
                </a:solidFill>
              </a:rPr>
              <a:t>04.05 – предоставлены материалы</a:t>
            </a:r>
          </a:p>
          <a:p>
            <a:r>
              <a:rPr lang="ru-RU" sz="1300" dirty="0">
                <a:solidFill>
                  <a:schemeClr val="tx1"/>
                </a:solidFill>
              </a:rPr>
              <a:t>05.05 – ссылка</a:t>
            </a:r>
          </a:p>
          <a:p>
            <a:r>
              <a:rPr lang="ru-RU" sz="1300" dirty="0">
                <a:solidFill>
                  <a:schemeClr val="tx1"/>
                </a:solidFill>
              </a:rPr>
              <a:t>06.05 - материалы прошли модерацию </a:t>
            </a:r>
          </a:p>
          <a:p>
            <a:r>
              <a:rPr lang="ru-RU" sz="1300" dirty="0">
                <a:solidFill>
                  <a:schemeClr val="tx1"/>
                </a:solidFill>
              </a:rPr>
              <a:t>07.05 – согласованы </a:t>
            </a:r>
            <a:r>
              <a:rPr lang="en-US" sz="1300" dirty="0">
                <a:solidFill>
                  <a:schemeClr val="tx1"/>
                </a:solidFill>
              </a:rPr>
              <a:t>utm </a:t>
            </a:r>
            <a:endParaRPr lang="ru-RU" sz="1300" dirty="0">
              <a:solidFill>
                <a:schemeClr val="tx1"/>
              </a:solidFill>
            </a:endParaRPr>
          </a:p>
          <a:p>
            <a:r>
              <a:rPr lang="ru-RU" sz="1300" dirty="0">
                <a:solidFill>
                  <a:schemeClr val="tx1"/>
                </a:solidFill>
              </a:rPr>
              <a:t>11.05 – установлены коды на сайте</a:t>
            </a:r>
          </a:p>
          <a:p>
            <a:r>
              <a:rPr lang="ru-RU" sz="1300" dirty="0">
                <a:solidFill>
                  <a:schemeClr val="tx1"/>
                </a:solidFill>
              </a:rPr>
              <a:t>16.05 – старт, скрины предоставлены</a:t>
            </a:r>
          </a:p>
          <a:p>
            <a:r>
              <a:rPr lang="ru-RU" sz="1300" b="1" u="sng" dirty="0">
                <a:solidFill>
                  <a:schemeClr val="tx1"/>
                </a:solidFill>
              </a:rPr>
              <a:t>Задачи:</a:t>
            </a:r>
          </a:p>
          <a:p>
            <a:r>
              <a:rPr lang="ru-RU" sz="1300" dirty="0">
                <a:solidFill>
                  <a:schemeClr val="tx1"/>
                </a:solidFill>
              </a:rPr>
              <a:t>!23.05 – проработать </a:t>
            </a:r>
            <a:r>
              <a:rPr lang="ru-RU" sz="1300" dirty="0" err="1">
                <a:solidFill>
                  <a:schemeClr val="tx1"/>
                </a:solidFill>
              </a:rPr>
              <a:t>реко</a:t>
            </a:r>
            <a:r>
              <a:rPr lang="ru-RU" sz="1300" dirty="0">
                <a:solidFill>
                  <a:schemeClr val="tx1"/>
                </a:solidFill>
              </a:rPr>
              <a:t> по оптимизации РК</a:t>
            </a:r>
          </a:p>
        </p:txBody>
      </p:sp>
      <p:sp>
        <p:nvSpPr>
          <p:cNvPr id="44" name="Прямоугольник: скругленные углы 43">
            <a:hlinkClick r:id="rId5" action="ppaction://hlinksldjump"/>
            <a:extLst>
              <a:ext uri="{FF2B5EF4-FFF2-40B4-BE49-F238E27FC236}">
                <a16:creationId xmlns:a16="http://schemas.microsoft.com/office/drawing/2014/main" id="{2A3659E4-EA2B-4567-B56E-74997E0BC234}"/>
              </a:ext>
            </a:extLst>
          </p:cNvPr>
          <p:cNvSpPr/>
          <p:nvPr/>
        </p:nvSpPr>
        <p:spPr>
          <a:xfrm>
            <a:off x="2175105" y="6210236"/>
            <a:ext cx="14496585" cy="437183"/>
          </a:xfrm>
          <a:prstGeom prst="roundRect">
            <a:avLst/>
          </a:prstGeom>
          <a:solidFill>
            <a:srgbClr val="EAEAEA">
              <a:alpha val="40784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Клиент2.1		/ отправлен 13.05	этапы проекта	  </a:t>
            </a:r>
          </a:p>
        </p:txBody>
      </p:sp>
      <p:sp>
        <p:nvSpPr>
          <p:cNvPr id="45" name="Прямоугольник: скругленные углы 44">
            <a:extLst>
              <a:ext uri="{FF2B5EF4-FFF2-40B4-BE49-F238E27FC236}">
                <a16:creationId xmlns:a16="http://schemas.microsoft.com/office/drawing/2014/main" id="{EFB4071F-591C-48E1-BCDA-083C9E69DB6A}"/>
              </a:ext>
            </a:extLst>
          </p:cNvPr>
          <p:cNvSpPr/>
          <p:nvPr/>
        </p:nvSpPr>
        <p:spPr>
          <a:xfrm>
            <a:off x="2185639" y="6789314"/>
            <a:ext cx="14496585" cy="437183"/>
          </a:xfrm>
          <a:prstGeom prst="roundRect">
            <a:avLst/>
          </a:prstGeom>
          <a:solidFill>
            <a:srgbClr val="EAEAEA">
              <a:alpha val="41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Клиент2.2		/ отправлен 14.05 	этапы проекта	  </a:t>
            </a:r>
          </a:p>
        </p:txBody>
      </p:sp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id="{9D52B80E-4EAB-47D3-971E-99C998FD7EB3}"/>
              </a:ext>
            </a:extLst>
          </p:cNvPr>
          <p:cNvSpPr/>
          <p:nvPr/>
        </p:nvSpPr>
        <p:spPr>
          <a:xfrm>
            <a:off x="2185639" y="7379382"/>
            <a:ext cx="14496585" cy="437183"/>
          </a:xfrm>
          <a:prstGeom prst="roundRect">
            <a:avLst/>
          </a:prstGeom>
          <a:solidFill>
            <a:srgbClr val="EAEAEA">
              <a:alpha val="41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Клиент2.3		/ отправлен 16.05 	этапы проекта	  </a:t>
            </a:r>
          </a:p>
        </p:txBody>
      </p:sp>
      <p:sp>
        <p:nvSpPr>
          <p:cNvPr id="12" name="Облачко с текстом: прямоугольное со скругленными углами 11">
            <a:extLst>
              <a:ext uri="{FF2B5EF4-FFF2-40B4-BE49-F238E27FC236}">
                <a16:creationId xmlns:a16="http://schemas.microsoft.com/office/drawing/2014/main" id="{59F31031-DFD6-403F-973B-D8F4661D4B2F}"/>
              </a:ext>
            </a:extLst>
          </p:cNvPr>
          <p:cNvSpPr/>
          <p:nvPr/>
        </p:nvSpPr>
        <p:spPr>
          <a:xfrm>
            <a:off x="-352425" y="5404977"/>
            <a:ext cx="1407037" cy="1974405"/>
          </a:xfrm>
          <a:prstGeom prst="wedgeRoundRectCallout">
            <a:avLst>
              <a:gd name="adj1" fmla="val 133818"/>
              <a:gd name="adj2" fmla="val -32946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ru-RU" sz="1200" dirty="0">
                <a:solidFill>
                  <a:schemeClr val="tx1"/>
                </a:solidFill>
              </a:rPr>
              <a:t>Сортировка менеджером</a:t>
            </a:r>
          </a:p>
          <a:p>
            <a:pPr marL="171450" indent="-171450">
              <a:buFontTx/>
              <a:buChar char="-"/>
            </a:pPr>
            <a:endParaRPr lang="ru-RU" sz="1200" dirty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ru-RU" sz="1200" dirty="0">
                <a:solidFill>
                  <a:schemeClr val="tx1"/>
                </a:solidFill>
              </a:rPr>
              <a:t>Чтобы открыть остальные проекты – нажимаем на кнопку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FEC2FE3-8FA2-4D5E-ACBF-71E9D01C2E1B}"/>
              </a:ext>
            </a:extLst>
          </p:cNvPr>
          <p:cNvSpPr/>
          <p:nvPr/>
        </p:nvSpPr>
        <p:spPr>
          <a:xfrm>
            <a:off x="2185639" y="5677677"/>
            <a:ext cx="1237785" cy="236577"/>
          </a:xfrm>
          <a:prstGeom prst="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Все проекты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0C108082-FA52-41A1-8C52-CE54A9337B0C}"/>
              </a:ext>
            </a:extLst>
          </p:cNvPr>
          <p:cNvSpPr/>
          <p:nvPr/>
        </p:nvSpPr>
        <p:spPr>
          <a:xfrm>
            <a:off x="2185639" y="8046609"/>
            <a:ext cx="1237785" cy="236577"/>
          </a:xfrm>
          <a:prstGeom prst="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Все расчеты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D2FC770-A7D5-4836-A591-FDBD6C875D55}"/>
              </a:ext>
            </a:extLst>
          </p:cNvPr>
          <p:cNvSpPr/>
          <p:nvPr/>
        </p:nvSpPr>
        <p:spPr>
          <a:xfrm>
            <a:off x="5271293" y="2875757"/>
            <a:ext cx="2394745" cy="455071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ЗАГРУЗИТЬ РАСЧЕТ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0C0A8426-66A3-4E04-819A-F9B6D6252C5F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E7A1D8A-E81C-41D6-8353-41609710CF7D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25" name="Рисунок 24" descr="Круги со стрелками">
              <a:extLst>
                <a:ext uri="{FF2B5EF4-FFF2-40B4-BE49-F238E27FC236}">
                  <a16:creationId xmlns:a16="http://schemas.microsoft.com/office/drawing/2014/main" id="{8AC91BF1-F07B-4B76-950C-9CB3023D1E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  <p:sp>
        <p:nvSpPr>
          <p:cNvPr id="26" name="Прямоугольник 25">
            <a:hlinkClick r:id="rId8" action="ppaction://hlinksldjump"/>
            <a:extLst>
              <a:ext uri="{FF2B5EF4-FFF2-40B4-BE49-F238E27FC236}">
                <a16:creationId xmlns:a16="http://schemas.microsoft.com/office/drawing/2014/main" id="{DC54C2CE-97BB-47F9-BF72-9A6BEBF98B70}"/>
              </a:ext>
            </a:extLst>
          </p:cNvPr>
          <p:cNvSpPr/>
          <p:nvPr/>
        </p:nvSpPr>
        <p:spPr>
          <a:xfrm>
            <a:off x="7990759" y="2862272"/>
            <a:ext cx="1155940" cy="455071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БАИНГ</a:t>
            </a:r>
          </a:p>
        </p:txBody>
      </p:sp>
      <p:sp>
        <p:nvSpPr>
          <p:cNvPr id="27" name="Облачко с текстом: прямоугольное со скругленными углами 26">
            <a:extLst>
              <a:ext uri="{FF2B5EF4-FFF2-40B4-BE49-F238E27FC236}">
                <a16:creationId xmlns:a16="http://schemas.microsoft.com/office/drawing/2014/main" id="{26A87EC4-34CE-4ED6-AF38-FD3A827B40BD}"/>
              </a:ext>
            </a:extLst>
          </p:cNvPr>
          <p:cNvSpPr/>
          <p:nvPr/>
        </p:nvSpPr>
        <p:spPr>
          <a:xfrm>
            <a:off x="10870155" y="2576196"/>
            <a:ext cx="3682667" cy="399432"/>
          </a:xfrm>
          <a:prstGeom prst="wedgeRoundRectCallout">
            <a:avLst>
              <a:gd name="adj1" fmla="val -93391"/>
              <a:gd name="adj2" fmla="val 76548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Отображается только у баинга и руководства</a:t>
            </a:r>
          </a:p>
        </p:txBody>
      </p:sp>
    </p:spTree>
    <p:extLst>
      <p:ext uri="{BB962C8B-B14F-4D97-AF65-F5344CB8AC3E}">
        <p14:creationId xmlns:p14="http://schemas.microsoft.com/office/powerpoint/2010/main" val="3390930608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5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2</a:t>
            </a:r>
            <a:r>
              <a:rPr lang="ru-RU" sz="9600" dirty="0"/>
              <a:t>.1</a:t>
            </a:r>
            <a:r>
              <a:rPr lang="en-US" sz="9600" dirty="0"/>
              <a:t> – </a:t>
            </a:r>
            <a:r>
              <a:rPr lang="ru-RU" sz="9600" dirty="0"/>
              <a:t>ПЕРЕХОД ПО КНОПКЕ</a:t>
            </a:r>
            <a:endParaRPr lang="ru-RU" dirty="0"/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D044AFD-816D-40A0-9A9B-AEC8BE4C96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375" y="2254268"/>
            <a:ext cx="6394411" cy="6926586"/>
          </a:xfrm>
          <a:prstGeom prst="rect">
            <a:avLst/>
          </a:prstGeom>
        </p:spPr>
      </p:pic>
      <p:sp>
        <p:nvSpPr>
          <p:cNvPr id="26" name="Облачко с текстом: прямоугольное со скругленными углами 25">
            <a:extLst>
              <a:ext uri="{FF2B5EF4-FFF2-40B4-BE49-F238E27FC236}">
                <a16:creationId xmlns:a16="http://schemas.microsoft.com/office/drawing/2014/main" id="{FA3F1F91-295B-47A4-AF9A-E4E149344CE6}"/>
              </a:ext>
            </a:extLst>
          </p:cNvPr>
          <p:cNvSpPr/>
          <p:nvPr/>
        </p:nvSpPr>
        <p:spPr>
          <a:xfrm>
            <a:off x="8734861" y="4035203"/>
            <a:ext cx="2083703" cy="632266"/>
          </a:xfrm>
          <a:prstGeom prst="wedgeRoundRectCallout">
            <a:avLst>
              <a:gd name="adj1" fmla="val -195591"/>
              <a:gd name="adj2" fmla="val -186280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Заполнение брифа</a:t>
            </a:r>
          </a:p>
        </p:txBody>
      </p:sp>
      <p:sp>
        <p:nvSpPr>
          <p:cNvPr id="27" name="Прямоугольник 26">
            <a:hlinkClick r:id="rId3" action="ppaction://hlinksldjump"/>
            <a:extLst>
              <a:ext uri="{FF2B5EF4-FFF2-40B4-BE49-F238E27FC236}">
                <a16:creationId xmlns:a16="http://schemas.microsoft.com/office/drawing/2014/main" id="{952ACD5A-97A4-4BE8-A97C-2D2CB49BDA52}"/>
              </a:ext>
            </a:extLst>
          </p:cNvPr>
          <p:cNvSpPr/>
          <p:nvPr/>
        </p:nvSpPr>
        <p:spPr>
          <a:xfrm>
            <a:off x="8550763" y="8623451"/>
            <a:ext cx="1775232" cy="455071"/>
          </a:xfrm>
          <a:prstGeom prst="rect">
            <a:avLst/>
          </a:prstGeom>
          <a:solidFill>
            <a:srgbClr val="00B050"/>
          </a:solidFill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РАССЧИТАТЬ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EDA24C4-DB24-4D60-BB12-1EBF41D873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58061" y="968831"/>
            <a:ext cx="2828925" cy="561975"/>
          </a:xfrm>
          <a:prstGeom prst="rect">
            <a:avLst/>
          </a:prstGeom>
        </p:spPr>
      </p:pic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60E5753F-E76B-4352-8394-0E2C90B66DA0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B136C53-40D5-4C05-BEBC-BB979B82D2A9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12" name="Рисунок 11" descr="Круги со стрелками">
              <a:hlinkClick r:id="rId5" action="ppaction://hlinksldjump"/>
              <a:extLst>
                <a:ext uri="{FF2B5EF4-FFF2-40B4-BE49-F238E27FC236}">
                  <a16:creationId xmlns:a16="http://schemas.microsoft.com/office/drawing/2014/main" id="{9369E791-4E9E-4EFB-B338-0AEA4D1ED2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  <p:sp>
        <p:nvSpPr>
          <p:cNvPr id="13" name="Облачко с текстом: прямоугольное со скругленными углами 12">
            <a:extLst>
              <a:ext uri="{FF2B5EF4-FFF2-40B4-BE49-F238E27FC236}">
                <a16:creationId xmlns:a16="http://schemas.microsoft.com/office/drawing/2014/main" id="{B15FC12D-52A3-47B8-83A0-9B146A3E99EA}"/>
              </a:ext>
            </a:extLst>
          </p:cNvPr>
          <p:cNvSpPr/>
          <p:nvPr/>
        </p:nvSpPr>
        <p:spPr>
          <a:xfrm>
            <a:off x="90378" y="3286269"/>
            <a:ext cx="1229262" cy="632266"/>
          </a:xfrm>
          <a:prstGeom prst="wedgeRoundRectCallout">
            <a:avLst>
              <a:gd name="adj1" fmla="val 61632"/>
              <a:gd name="adj2" fmla="val -129033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Вернуться на главную</a:t>
            </a:r>
          </a:p>
        </p:txBody>
      </p:sp>
    </p:spTree>
    <p:extLst>
      <p:ext uri="{BB962C8B-B14F-4D97-AF65-F5344CB8AC3E}">
        <p14:creationId xmlns:p14="http://schemas.microsoft.com/office/powerpoint/2010/main" val="725247404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6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2</a:t>
            </a:r>
            <a:r>
              <a:rPr lang="ru-RU" sz="9600" dirty="0"/>
              <a:t>.2</a:t>
            </a:r>
            <a:r>
              <a:rPr lang="en-US" sz="9600" dirty="0"/>
              <a:t> – </a:t>
            </a:r>
            <a:r>
              <a:rPr lang="ru-RU" sz="9600" dirty="0"/>
              <a:t>ПЕРЕХОД ПО КНОПКЕ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6811BBC-EDE8-46AC-98BD-F2219F9FF2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179"/>
          <a:stretch/>
        </p:blipFill>
        <p:spPr>
          <a:xfrm>
            <a:off x="11862192" y="1012301"/>
            <a:ext cx="1724025" cy="532995"/>
          </a:xfrm>
          <a:prstGeom prst="rect">
            <a:avLst/>
          </a:prstGeom>
        </p:spPr>
      </p:pic>
      <p:sp>
        <p:nvSpPr>
          <p:cNvPr id="8" name="Облачко с текстом: прямоугольное со скругленными углами 7">
            <a:extLst>
              <a:ext uri="{FF2B5EF4-FFF2-40B4-BE49-F238E27FC236}">
                <a16:creationId xmlns:a16="http://schemas.microsoft.com/office/drawing/2014/main" id="{CCA32D97-967C-48D4-BAD7-027F6CBEE056}"/>
              </a:ext>
            </a:extLst>
          </p:cNvPr>
          <p:cNvSpPr/>
          <p:nvPr/>
        </p:nvSpPr>
        <p:spPr>
          <a:xfrm>
            <a:off x="2203380" y="2235687"/>
            <a:ext cx="6062733" cy="1399879"/>
          </a:xfrm>
          <a:prstGeom prst="wedgeRoundRectCallout">
            <a:avLst>
              <a:gd name="adj1" fmla="val 64324"/>
              <a:gd name="adj2" fmla="val 61091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Отображается максимально полный список площадок с возможностью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сортировать по параметрам, скрывать и перемещать столбц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сохранять/удалять выбранные пози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Можно выгрузить в </a:t>
            </a:r>
            <a:r>
              <a:rPr lang="en-US" sz="1200" dirty="0">
                <a:solidFill>
                  <a:schemeClr val="tx1"/>
                </a:solidFill>
              </a:rPr>
              <a:t>excel </a:t>
            </a:r>
            <a:r>
              <a:rPr lang="ru-RU" sz="1200" dirty="0">
                <a:solidFill>
                  <a:schemeClr val="tx1"/>
                </a:solidFill>
              </a:rPr>
              <a:t>полный фай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9" name="Облачко с текстом: прямоугольное со скругленными углами 8">
            <a:extLst>
              <a:ext uri="{FF2B5EF4-FFF2-40B4-BE49-F238E27FC236}">
                <a16:creationId xmlns:a16="http://schemas.microsoft.com/office/drawing/2014/main" id="{FAC27ED4-9F60-40D7-B7A7-2EF1DE810CAA}"/>
              </a:ext>
            </a:extLst>
          </p:cNvPr>
          <p:cNvSpPr/>
          <p:nvPr/>
        </p:nvSpPr>
        <p:spPr>
          <a:xfrm>
            <a:off x="11382376" y="2229630"/>
            <a:ext cx="6088544" cy="1405936"/>
          </a:xfrm>
          <a:prstGeom prst="wedgeRoundRectCallout">
            <a:avLst>
              <a:gd name="adj1" fmla="val -64188"/>
              <a:gd name="adj2" fmla="val 62543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Данные подтягиваются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Файл с площадками и расчетами (с учетом сезон.коэф – наценка за месяц размещения</a:t>
            </a:r>
            <a:r>
              <a:rPr lang="en-US" sz="1200" dirty="0">
                <a:solidFill>
                  <a:schemeClr val="tx1"/>
                </a:solidFill>
              </a:rPr>
              <a:t>; </a:t>
            </a:r>
            <a:r>
              <a:rPr lang="ru-RU" sz="1200" dirty="0" err="1">
                <a:solidFill>
                  <a:schemeClr val="tx1"/>
                </a:solidFill>
              </a:rPr>
              <a:t>гео</a:t>
            </a:r>
            <a:r>
              <a:rPr lang="ru-RU" sz="1200" dirty="0">
                <a:solidFill>
                  <a:schemeClr val="tx1"/>
                </a:solidFill>
              </a:rPr>
              <a:t>, интересы, пол/возраст и т.п.)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Файл с отчетами реализованных проектов (с возможностью выгрузки подробной информации о реализованном ранее проекте – сегмент, месяца, креативы и т.п.)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Баинговые факторы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085D724-2C49-44A9-AA94-08670D1FD60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5619"/>
          <a:stretch/>
        </p:blipFill>
        <p:spPr>
          <a:xfrm>
            <a:off x="1351114" y="3910691"/>
            <a:ext cx="16106248" cy="50809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719685C-AFCA-4958-8EC5-4223E16F251E}"/>
              </a:ext>
            </a:extLst>
          </p:cNvPr>
          <p:cNvSpPr/>
          <p:nvPr/>
        </p:nvSpPr>
        <p:spPr>
          <a:xfrm>
            <a:off x="1351114" y="9011876"/>
            <a:ext cx="1237785" cy="236577"/>
          </a:xfrm>
          <a:prstGeom prst="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Все расчеты</a:t>
            </a:r>
          </a:p>
        </p:txBody>
      </p:sp>
      <p:sp>
        <p:nvSpPr>
          <p:cNvPr id="12" name="Облачко с текстом: прямоугольное со скругленными углами 11">
            <a:extLst>
              <a:ext uri="{FF2B5EF4-FFF2-40B4-BE49-F238E27FC236}">
                <a16:creationId xmlns:a16="http://schemas.microsoft.com/office/drawing/2014/main" id="{7D2A3B9B-AB55-44C9-8E03-DD6777BD1390}"/>
              </a:ext>
            </a:extLst>
          </p:cNvPr>
          <p:cNvSpPr/>
          <p:nvPr/>
        </p:nvSpPr>
        <p:spPr>
          <a:xfrm>
            <a:off x="112030" y="9654813"/>
            <a:ext cx="1407037" cy="1193986"/>
          </a:xfrm>
          <a:prstGeom prst="wedgeRoundRectCallout">
            <a:avLst>
              <a:gd name="adj1" fmla="val 71538"/>
              <a:gd name="adj2" fmla="val -78550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Чтобы открыть остальные позиции – нажимаем на кнопку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F3309CC-1C4B-4072-976A-77F1BB9A8116}"/>
              </a:ext>
            </a:extLst>
          </p:cNvPr>
          <p:cNvSpPr/>
          <p:nvPr/>
        </p:nvSpPr>
        <p:spPr>
          <a:xfrm>
            <a:off x="2757326" y="9039190"/>
            <a:ext cx="985999" cy="455071"/>
          </a:xfrm>
          <a:prstGeom prst="rect">
            <a:avLst/>
          </a:prstGeom>
          <a:solidFill>
            <a:srgbClr val="00B050"/>
          </a:solidFill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В </a:t>
            </a:r>
            <a:r>
              <a:rPr lang="en-US" dirty="0">
                <a:solidFill>
                  <a:schemeClr val="tx1"/>
                </a:solidFill>
              </a:rPr>
              <a:t>excel</a:t>
            </a:r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1BD15FBC-8AD1-4876-B9E5-2FCB6B107620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C65DB17-5DFC-4A2A-95BC-AC1CDFA0409A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22" name="Рисунок 21" descr="Круги со стрелками">
              <a:hlinkClick r:id="rId4" action="ppaction://hlinksldjump"/>
              <a:extLst>
                <a:ext uri="{FF2B5EF4-FFF2-40B4-BE49-F238E27FC236}">
                  <a16:creationId xmlns:a16="http://schemas.microsoft.com/office/drawing/2014/main" id="{BD62580A-5F99-426B-9920-6F2B1C3E08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2999394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7</a:t>
            </a:fld>
            <a:endParaRPr lang="ru-RU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D1F8B82-67D4-4F3E-A631-A65A5CAE0C82}"/>
              </a:ext>
            </a:extLst>
          </p:cNvPr>
          <p:cNvSpPr txBox="1"/>
          <p:nvPr/>
        </p:nvSpPr>
        <p:spPr>
          <a:xfrm>
            <a:off x="548710" y="11302342"/>
            <a:ext cx="17842684" cy="1594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*ДАННЫЕ ПО ПРОЕКТАМ (БЮДЖЕТЫ, СЕГМЕНТЫ, КОМИТЫ И Т.П.)</a:t>
            </a:r>
          </a:p>
          <a:p>
            <a:r>
              <a:rPr lang="ru-RU" dirty="0"/>
              <a:t>**С ПОИСКОМ ПО КЛЮЧЕВЫМ СЛОВАМ</a:t>
            </a:r>
          </a:p>
          <a:p>
            <a:r>
              <a:rPr lang="ru-RU" dirty="0"/>
              <a:t>***эксперименты с таргетингами в разных сегментах</a:t>
            </a:r>
          </a:p>
          <a:p>
            <a:r>
              <a:rPr lang="ru-RU" dirty="0"/>
              <a:t> (например, кто-то в аг-ве оценивал для Клиента целесообразность размещения РК без таргетингов но ЦА 25-45 с целью снижения CPU - релевантно только в случае, если CPU будет ниже 30%)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</a:t>
            </a:r>
            <a:r>
              <a:rPr lang="ru-RU" sz="9600" dirty="0"/>
              <a:t>3</a:t>
            </a:r>
            <a:r>
              <a:rPr lang="en-US" sz="9600" dirty="0"/>
              <a:t> – </a:t>
            </a:r>
            <a:r>
              <a:rPr lang="ru-RU" sz="9600" dirty="0"/>
              <a:t>ПЕРЕХОД ПО КНОПКЕ</a:t>
            </a:r>
            <a:endParaRPr lang="ru-RU" sz="1800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1465E74-7682-4B6C-9086-07B7981FFC83}"/>
              </a:ext>
            </a:extLst>
          </p:cNvPr>
          <p:cNvSpPr/>
          <p:nvPr/>
        </p:nvSpPr>
        <p:spPr>
          <a:xfrm>
            <a:off x="1984375" y="6049154"/>
            <a:ext cx="14895513" cy="1970087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Заголовок 5">
            <a:extLst>
              <a:ext uri="{FF2B5EF4-FFF2-40B4-BE49-F238E27FC236}">
                <a16:creationId xmlns:a16="http://schemas.microsoft.com/office/drawing/2014/main" id="{94FF77EB-5456-4136-AE89-A38BC21C3D3A}"/>
              </a:ext>
            </a:extLst>
          </p:cNvPr>
          <p:cNvSpPr txBox="1">
            <a:spLocks/>
          </p:cNvSpPr>
          <p:nvPr/>
        </p:nvSpPr>
        <p:spPr>
          <a:xfrm rot="-5400000">
            <a:off x="274825" y="6712020"/>
            <a:ext cx="2479028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975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500" dirty="0"/>
              <a:t>Не Согласованные планы/ статус</a:t>
            </a:r>
          </a:p>
        </p:txBody>
      </p:sp>
      <p:sp>
        <p:nvSpPr>
          <p:cNvPr id="44" name="Прямоугольник: скругленные углы 43">
            <a:extLst>
              <a:ext uri="{FF2B5EF4-FFF2-40B4-BE49-F238E27FC236}">
                <a16:creationId xmlns:a16="http://schemas.microsoft.com/office/drawing/2014/main" id="{2A3659E4-EA2B-4567-B56E-74997E0BC234}"/>
              </a:ext>
            </a:extLst>
          </p:cNvPr>
          <p:cNvSpPr/>
          <p:nvPr/>
        </p:nvSpPr>
        <p:spPr>
          <a:xfrm>
            <a:off x="2175105" y="6210236"/>
            <a:ext cx="14496585" cy="437183"/>
          </a:xfrm>
          <a:prstGeom prst="roundRect">
            <a:avLst/>
          </a:prstGeom>
          <a:solidFill>
            <a:srgbClr val="EAEAEA">
              <a:alpha val="40784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Клиент1		/ отправлен 13.05	этапы проекта 		 /выгрузить расчет	  </a:t>
            </a:r>
          </a:p>
        </p:txBody>
      </p:sp>
      <p:sp>
        <p:nvSpPr>
          <p:cNvPr id="45" name="Прямоугольник: скругленные углы 44">
            <a:extLst>
              <a:ext uri="{FF2B5EF4-FFF2-40B4-BE49-F238E27FC236}">
                <a16:creationId xmlns:a16="http://schemas.microsoft.com/office/drawing/2014/main" id="{EFB4071F-591C-48E1-BCDA-083C9E69DB6A}"/>
              </a:ext>
            </a:extLst>
          </p:cNvPr>
          <p:cNvSpPr/>
          <p:nvPr/>
        </p:nvSpPr>
        <p:spPr>
          <a:xfrm>
            <a:off x="2185639" y="6789314"/>
            <a:ext cx="14496585" cy="437183"/>
          </a:xfrm>
          <a:prstGeom prst="roundRect">
            <a:avLst/>
          </a:prstGeom>
          <a:solidFill>
            <a:srgbClr val="EAEAEA">
              <a:alpha val="41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Клиент1		/ отправлен 14.05 	этапы проекта		 /выгрузить расчет  </a:t>
            </a:r>
          </a:p>
        </p:txBody>
      </p:sp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id="{9D52B80E-4EAB-47D3-971E-99C998FD7EB3}"/>
              </a:ext>
            </a:extLst>
          </p:cNvPr>
          <p:cNvSpPr/>
          <p:nvPr/>
        </p:nvSpPr>
        <p:spPr>
          <a:xfrm>
            <a:off x="2185639" y="7379382"/>
            <a:ext cx="14496585" cy="437183"/>
          </a:xfrm>
          <a:prstGeom prst="roundRect">
            <a:avLst/>
          </a:prstGeom>
          <a:solidFill>
            <a:srgbClr val="EAEAEA">
              <a:alpha val="41000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Клиент1		/ отправлен 16.05 	этапы проекта 		 /выгрузить расчет	  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0C108082-FA52-41A1-8C52-CE54A9337B0C}"/>
              </a:ext>
            </a:extLst>
          </p:cNvPr>
          <p:cNvSpPr/>
          <p:nvPr/>
        </p:nvSpPr>
        <p:spPr>
          <a:xfrm>
            <a:off x="2185639" y="8046609"/>
            <a:ext cx="1237785" cy="236577"/>
          </a:xfrm>
          <a:prstGeom prst="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Все расчеты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D2FC770-A7D5-4836-A591-FDBD6C875D55}"/>
              </a:ext>
            </a:extLst>
          </p:cNvPr>
          <p:cNvSpPr/>
          <p:nvPr/>
        </p:nvSpPr>
        <p:spPr>
          <a:xfrm>
            <a:off x="5271293" y="2875757"/>
            <a:ext cx="2394745" cy="455071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ЗАГРУЗИТЬ РАСЧЕТ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990ECDC-8DBD-4C37-A00E-06A66DE675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00619" y="925969"/>
            <a:ext cx="2552700" cy="590550"/>
          </a:xfrm>
          <a:prstGeom prst="rect">
            <a:avLst/>
          </a:prstGeom>
        </p:spPr>
      </p:pic>
      <p:sp>
        <p:nvSpPr>
          <p:cNvPr id="24" name="Облачко с текстом: прямоугольное со скругленными углами 23">
            <a:extLst>
              <a:ext uri="{FF2B5EF4-FFF2-40B4-BE49-F238E27FC236}">
                <a16:creationId xmlns:a16="http://schemas.microsoft.com/office/drawing/2014/main" id="{11B078FF-9E61-47D8-8029-6B1F97019050}"/>
              </a:ext>
            </a:extLst>
          </p:cNvPr>
          <p:cNvSpPr/>
          <p:nvPr/>
        </p:nvSpPr>
        <p:spPr>
          <a:xfrm>
            <a:off x="8951458" y="2198905"/>
            <a:ext cx="6840991" cy="2320604"/>
          </a:xfrm>
          <a:prstGeom prst="wedgeRoundRectCallout">
            <a:avLst>
              <a:gd name="adj1" fmla="val -68006"/>
              <a:gd name="adj2" fmla="val -5548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Из ниспадающих списков выбираем:     Название клиента и Название РК    =</a:t>
            </a:r>
            <a:r>
              <a:rPr lang="en-US" sz="1200" dirty="0">
                <a:solidFill>
                  <a:schemeClr val="tx1"/>
                </a:solidFill>
              </a:rPr>
              <a:t>&gt;</a:t>
            </a:r>
            <a:endParaRPr lang="ru-RU" sz="1200" dirty="0">
              <a:solidFill>
                <a:schemeClr val="tx1"/>
              </a:solidFill>
            </a:endParaRPr>
          </a:p>
          <a:p>
            <a:r>
              <a:rPr lang="ru-RU" sz="1200" dirty="0">
                <a:solidFill>
                  <a:schemeClr val="tx1"/>
                </a:solidFill>
              </a:rPr>
              <a:t>Всплывает окно с возможностью загрузить </a:t>
            </a:r>
            <a:r>
              <a:rPr lang="en-US" sz="1200" dirty="0">
                <a:solidFill>
                  <a:schemeClr val="tx1"/>
                </a:solidFill>
              </a:rPr>
              <a:t>excel </a:t>
            </a:r>
            <a:r>
              <a:rPr lang="ru-RU" sz="1200" dirty="0">
                <a:solidFill>
                  <a:schemeClr val="tx1"/>
                </a:solidFill>
              </a:rPr>
              <a:t>файл.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Он попадает в часть «не согласованные планы/ статус». Автоматически заполняется на главной: название Клиента, дата отправки и т.п. </a:t>
            </a:r>
            <a:r>
              <a:rPr lang="en-US" sz="1200" dirty="0">
                <a:solidFill>
                  <a:schemeClr val="tx1"/>
                </a:solidFill>
              </a:rPr>
              <a:t>{</a:t>
            </a:r>
            <a:r>
              <a:rPr lang="ru-RU" sz="1200" dirty="0">
                <a:solidFill>
                  <a:schemeClr val="tx1"/>
                </a:solidFill>
              </a:rPr>
              <a:t>есть возможность ручной правки данных</a:t>
            </a:r>
            <a:r>
              <a:rPr lang="en-US" sz="1200" dirty="0">
                <a:solidFill>
                  <a:schemeClr val="tx1"/>
                </a:solidFill>
              </a:rPr>
              <a:t>}</a:t>
            </a:r>
            <a:endParaRPr lang="ru-RU" sz="1200" dirty="0">
              <a:solidFill>
                <a:schemeClr val="tx1"/>
              </a:solidFill>
            </a:endParaRP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1"/>
                </a:solidFill>
              </a:rPr>
              <a:t>«выгрузить расчет» – выгружается </a:t>
            </a:r>
            <a:r>
              <a:rPr lang="en-US" sz="1200" dirty="0">
                <a:solidFill>
                  <a:schemeClr val="tx1"/>
                </a:solidFill>
              </a:rPr>
              <a:t>excel </a:t>
            </a:r>
            <a:r>
              <a:rPr lang="ru-RU" sz="1200" dirty="0">
                <a:solidFill>
                  <a:schemeClr val="tx1"/>
                </a:solidFill>
              </a:rPr>
              <a:t>файл максимально причесанный (готовый к отправке Клиенту), но с формулами внутри документа</a:t>
            </a:r>
            <a:endParaRPr lang="en-US" sz="1200" dirty="0">
              <a:solidFill>
                <a:schemeClr val="tx1"/>
              </a:solidFill>
            </a:endParaRPr>
          </a:p>
          <a:p>
            <a:r>
              <a:rPr lang="ru-RU" sz="12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E0339875-B63A-4260-8190-A766211B0FAE}"/>
              </a:ext>
            </a:extLst>
          </p:cNvPr>
          <p:cNvSpPr/>
          <p:nvPr/>
        </p:nvSpPr>
        <p:spPr>
          <a:xfrm>
            <a:off x="9348599" y="3540626"/>
            <a:ext cx="1447800" cy="218371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9C08DC0E-8EA5-4225-8C26-ED263F200D64}"/>
              </a:ext>
            </a:extLst>
          </p:cNvPr>
          <p:cNvSpPr/>
          <p:nvPr/>
        </p:nvSpPr>
        <p:spPr>
          <a:xfrm>
            <a:off x="10010775" y="6315390"/>
            <a:ext cx="2571750" cy="270983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F80AA07B-5684-4A10-9029-BDD2F725BBF2}"/>
              </a:ext>
            </a:extLst>
          </p:cNvPr>
          <p:cNvSpPr/>
          <p:nvPr/>
        </p:nvSpPr>
        <p:spPr>
          <a:xfrm>
            <a:off x="10014744" y="6896465"/>
            <a:ext cx="2571750" cy="270983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3EE1C84B-328C-4196-A8A4-76A648422EE2}"/>
              </a:ext>
            </a:extLst>
          </p:cNvPr>
          <p:cNvSpPr/>
          <p:nvPr/>
        </p:nvSpPr>
        <p:spPr>
          <a:xfrm>
            <a:off x="10014744" y="7500077"/>
            <a:ext cx="2571750" cy="270983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BF4EB7F-5266-4037-A29F-19F3D579C8ED}"/>
              </a:ext>
            </a:extLst>
          </p:cNvPr>
          <p:cNvSpPr/>
          <p:nvPr/>
        </p:nvSpPr>
        <p:spPr>
          <a:xfrm>
            <a:off x="2022295" y="2875757"/>
            <a:ext cx="2394745" cy="455071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Название клиента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470939-1561-440B-8DE8-6C03FC6CAC91}"/>
              </a:ext>
            </a:extLst>
          </p:cNvPr>
          <p:cNvSpPr/>
          <p:nvPr/>
        </p:nvSpPr>
        <p:spPr>
          <a:xfrm>
            <a:off x="2021194" y="3615917"/>
            <a:ext cx="2394745" cy="455071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Название РК</a:t>
            </a:r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E9B80844-FB85-47BC-8976-91D7C2C0F9F8}"/>
              </a:ext>
            </a:extLst>
          </p:cNvPr>
          <p:cNvSpPr/>
          <p:nvPr/>
        </p:nvSpPr>
        <p:spPr>
          <a:xfrm>
            <a:off x="1903141" y="2774768"/>
            <a:ext cx="2621234" cy="654865"/>
          </a:xfrm>
          <a:prstGeom prst="roundRect">
            <a:avLst/>
          </a:prstGeom>
          <a:noFill/>
          <a:ln w="38100">
            <a:solidFill>
              <a:srgbClr val="0070C0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9C5FB238-EF51-48DB-AC25-97965EEAF9F1}"/>
              </a:ext>
            </a:extLst>
          </p:cNvPr>
          <p:cNvSpPr/>
          <p:nvPr/>
        </p:nvSpPr>
        <p:spPr>
          <a:xfrm>
            <a:off x="1903141" y="3530541"/>
            <a:ext cx="2621234" cy="654865"/>
          </a:xfrm>
          <a:prstGeom prst="roundRect">
            <a:avLst/>
          </a:prstGeom>
          <a:noFill/>
          <a:ln w="38100">
            <a:solidFill>
              <a:srgbClr val="0070C0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: скругленные углы 33">
            <a:extLst>
              <a:ext uri="{FF2B5EF4-FFF2-40B4-BE49-F238E27FC236}">
                <a16:creationId xmlns:a16="http://schemas.microsoft.com/office/drawing/2014/main" id="{2517EB68-AE0F-40E3-AEE5-F47BC58EDB66}"/>
              </a:ext>
            </a:extLst>
          </p:cNvPr>
          <p:cNvSpPr/>
          <p:nvPr/>
        </p:nvSpPr>
        <p:spPr>
          <a:xfrm>
            <a:off x="11881644" y="2628226"/>
            <a:ext cx="2475285" cy="218371"/>
          </a:xfrm>
          <a:prstGeom prst="roundRect">
            <a:avLst/>
          </a:prstGeom>
          <a:noFill/>
          <a:ln w="38100">
            <a:solidFill>
              <a:srgbClr val="0070C0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Выноска: стрелка влево 49">
            <a:extLst>
              <a:ext uri="{FF2B5EF4-FFF2-40B4-BE49-F238E27FC236}">
                <a16:creationId xmlns:a16="http://schemas.microsoft.com/office/drawing/2014/main" id="{F8D52985-D776-493B-9F5E-535B522754E1}"/>
              </a:ext>
            </a:extLst>
          </p:cNvPr>
          <p:cNvSpPr/>
          <p:nvPr/>
        </p:nvSpPr>
        <p:spPr>
          <a:xfrm>
            <a:off x="8993103" y="6869379"/>
            <a:ext cx="7689121" cy="1532378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52094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[</a:t>
            </a:r>
            <a:r>
              <a:rPr lang="ru-RU" sz="1100" b="1" dirty="0">
                <a:solidFill>
                  <a:schemeClr val="tx1"/>
                </a:solidFill>
              </a:rPr>
              <a:t>При наведении детализированная информация</a:t>
            </a:r>
            <a:r>
              <a:rPr lang="en-US" sz="1100" b="1" dirty="0">
                <a:solidFill>
                  <a:schemeClr val="tx1"/>
                </a:solidFill>
              </a:rPr>
              <a:t>]</a:t>
            </a:r>
          </a:p>
          <a:p>
            <a:r>
              <a:rPr lang="ru-RU" sz="1300" b="1" u="sng" dirty="0">
                <a:solidFill>
                  <a:schemeClr val="tx1"/>
                </a:solidFill>
              </a:rPr>
              <a:t>История:</a:t>
            </a:r>
            <a:endParaRPr lang="ru-RU" sz="1300" dirty="0">
              <a:solidFill>
                <a:schemeClr val="tx1"/>
              </a:solidFill>
            </a:endParaRPr>
          </a:p>
          <a:p>
            <a:r>
              <a:rPr lang="en-US" sz="1300" dirty="0">
                <a:solidFill>
                  <a:schemeClr val="tx1"/>
                </a:solidFill>
              </a:rPr>
              <a:t>30.04 – </a:t>
            </a:r>
            <a:r>
              <a:rPr lang="ru-RU" sz="1300" dirty="0">
                <a:solidFill>
                  <a:schemeClr val="tx1"/>
                </a:solidFill>
              </a:rPr>
              <a:t>отправлен клиенту МП</a:t>
            </a:r>
          </a:p>
          <a:p>
            <a:r>
              <a:rPr lang="ru-RU" sz="1300" dirty="0">
                <a:solidFill>
                  <a:schemeClr val="tx1"/>
                </a:solidFill>
              </a:rPr>
              <a:t>04.05 – встреча с клиентом/презентация</a:t>
            </a:r>
          </a:p>
          <a:p>
            <a:r>
              <a:rPr lang="ru-RU" sz="1300" dirty="0">
                <a:solidFill>
                  <a:schemeClr val="tx1"/>
                </a:solidFill>
              </a:rPr>
              <a:t>05.05 – обновление МП</a:t>
            </a:r>
          </a:p>
          <a:p>
            <a:r>
              <a:rPr lang="ru-RU" sz="1300" b="1" u="sng" dirty="0">
                <a:solidFill>
                  <a:schemeClr val="tx1"/>
                </a:solidFill>
              </a:rPr>
              <a:t>Задачи:</a:t>
            </a:r>
          </a:p>
          <a:p>
            <a:r>
              <a:rPr lang="ru-RU" sz="1300" dirty="0">
                <a:solidFill>
                  <a:schemeClr val="tx1"/>
                </a:solidFill>
              </a:rPr>
              <a:t>!23.05 – напомнить Клиенту о проекте</a:t>
            </a:r>
          </a:p>
        </p:txBody>
      </p:sp>
      <p:sp>
        <p:nvSpPr>
          <p:cNvPr id="52" name="Облачко с текстом: прямоугольное со скругленными углами 51">
            <a:extLst>
              <a:ext uri="{FF2B5EF4-FFF2-40B4-BE49-F238E27FC236}">
                <a16:creationId xmlns:a16="http://schemas.microsoft.com/office/drawing/2014/main" id="{089AC8A2-E919-475D-BD69-6092783DA6C2}"/>
              </a:ext>
            </a:extLst>
          </p:cNvPr>
          <p:cNvSpPr/>
          <p:nvPr/>
        </p:nvSpPr>
        <p:spPr>
          <a:xfrm>
            <a:off x="4885794" y="8180324"/>
            <a:ext cx="2644938" cy="579077"/>
          </a:xfrm>
          <a:prstGeom prst="wedgeRoundRectCallout">
            <a:avLst>
              <a:gd name="adj1" fmla="val 247138"/>
              <a:gd name="adj2" fmla="val -44352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Все можно править/добавлять/удалять руками в любой момент</a:t>
            </a:r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06DEBEB6-EF2E-4FF0-8A46-DC345680E9E1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4C1D637-C061-4279-945B-08B2D58B8234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38" name="Рисунок 37" descr="Круги со стрелками">
              <a:hlinkClick r:id="rId3" action="ppaction://hlinksldjump"/>
              <a:extLst>
                <a:ext uri="{FF2B5EF4-FFF2-40B4-BE49-F238E27FC236}">
                  <a16:creationId xmlns:a16="http://schemas.microsoft.com/office/drawing/2014/main" id="{6DC4313B-50C9-4127-8183-845568D81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7577255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8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</a:t>
            </a:r>
            <a:r>
              <a:rPr lang="ru-RU" sz="9600" dirty="0"/>
              <a:t>4</a:t>
            </a:r>
            <a:r>
              <a:rPr lang="en-US" sz="9600" dirty="0"/>
              <a:t> – </a:t>
            </a:r>
            <a:r>
              <a:rPr lang="ru-RU" sz="9600" dirty="0"/>
              <a:t>ПЕРЕХОД ПО КНОПКЕ</a:t>
            </a:r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932BF1-13AD-4A40-925A-AEFE2D097E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86331" y="999720"/>
            <a:ext cx="1400175" cy="4572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8DFB6A3-1D99-4C94-ACA4-A4B137428A56}"/>
              </a:ext>
            </a:extLst>
          </p:cNvPr>
          <p:cNvSpPr txBox="1"/>
          <p:nvPr/>
        </p:nvSpPr>
        <p:spPr>
          <a:xfrm>
            <a:off x="12686506" y="1084746"/>
            <a:ext cx="2172494" cy="246221"/>
          </a:xfrm>
          <a:prstGeom prst="rect">
            <a:avLst/>
          </a:prstGeom>
          <a:solidFill>
            <a:srgbClr val="F6F6F6"/>
          </a:solidFill>
        </p:spPr>
        <p:txBody>
          <a:bodyPr wrap="square">
            <a:spAutoFit/>
          </a:bodyPr>
          <a:lstStyle/>
          <a:p>
            <a:r>
              <a:rPr lang="en-US" sz="1000" dirty="0"/>
              <a:t>[</a:t>
            </a:r>
            <a:r>
              <a:rPr lang="ru-RU" sz="1000" dirty="0"/>
              <a:t>Не согласованные планы/ статус</a:t>
            </a:r>
            <a:r>
              <a:rPr lang="en-US" sz="1000" dirty="0"/>
              <a:t>]</a:t>
            </a:r>
            <a:endParaRPr lang="ru-RU" sz="1000" dirty="0"/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52B7FE1C-F650-4726-9E13-B6FC4F540B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6548152"/>
              </p:ext>
            </p:extLst>
          </p:nvPr>
        </p:nvGraphicFramePr>
        <p:xfrm>
          <a:off x="2532215" y="3057524"/>
          <a:ext cx="6771968" cy="5381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Облачко с текстом: прямоугольное со скругленными углами 19">
            <a:extLst>
              <a:ext uri="{FF2B5EF4-FFF2-40B4-BE49-F238E27FC236}">
                <a16:creationId xmlns:a16="http://schemas.microsoft.com/office/drawing/2014/main" id="{A61611E6-7E65-4C63-82CE-D5B90A44B8BE}"/>
              </a:ext>
            </a:extLst>
          </p:cNvPr>
          <p:cNvSpPr/>
          <p:nvPr/>
        </p:nvSpPr>
        <p:spPr>
          <a:xfrm>
            <a:off x="9824244" y="2747537"/>
            <a:ext cx="4050167" cy="619973"/>
          </a:xfrm>
          <a:prstGeom prst="wedgeRoundRectCallout">
            <a:avLst>
              <a:gd name="adj1" fmla="val -90113"/>
              <a:gd name="adj2" fmla="val 129651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Подтягиваются из системы (то, что заполняли ранее)</a:t>
            </a:r>
          </a:p>
          <a:p>
            <a:r>
              <a:rPr lang="ru-RU" sz="1200" dirty="0">
                <a:solidFill>
                  <a:schemeClr val="tx1"/>
                </a:solidFill>
              </a:rPr>
              <a:t>Можно менять вручную</a:t>
            </a:r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30A7470A-AE40-44CC-B12D-DB6C991AC61F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717CE77-3D5B-412D-A6D5-29FA14819F68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15" name="Рисунок 14" descr="Круги со стрелками">
              <a:hlinkClick r:id="rId8" action="ppaction://hlinksldjump"/>
              <a:extLst>
                <a:ext uri="{FF2B5EF4-FFF2-40B4-BE49-F238E27FC236}">
                  <a16:creationId xmlns:a16="http://schemas.microsoft.com/office/drawing/2014/main" id="{302AC04B-8590-459F-A496-17599A0A3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16B3507-291F-4102-B013-606A4C71C8C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889" t="20194" r="16746" b="31129"/>
          <a:stretch/>
        </p:blipFill>
        <p:spPr>
          <a:xfrm>
            <a:off x="9824244" y="3821603"/>
            <a:ext cx="6824125" cy="23543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A94E253-AF39-4B2D-8E88-749CA2F47B52}"/>
              </a:ext>
            </a:extLst>
          </p:cNvPr>
          <p:cNvSpPr/>
          <p:nvPr/>
        </p:nvSpPr>
        <p:spPr>
          <a:xfrm>
            <a:off x="9824244" y="6595031"/>
            <a:ext cx="9590109" cy="2496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УСЛОВИЯ </a:t>
            </a:r>
            <a:r>
              <a:rPr lang="en-US" dirty="0"/>
              <a:t>[</a:t>
            </a:r>
            <a:r>
              <a:rPr lang="ru-RU" dirty="0"/>
              <a:t>ТЕНДЕР, ПЕРИОД, ГОДОВОЙ БЮДЖЕТ</a:t>
            </a:r>
            <a:r>
              <a:rPr lang="en-US" dirty="0"/>
              <a:t>]</a:t>
            </a:r>
            <a:endParaRPr lang="ru-RU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КОММИТЫ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/>
                </a:solidFill>
              </a:rPr>
              <a:t>Маржа/Категория скидок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АК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РАБОЧАЯ ГРУППА</a:t>
            </a:r>
            <a:r>
              <a:rPr lang="en-US" dirty="0"/>
              <a:t> [</a:t>
            </a:r>
            <a:r>
              <a:rPr lang="ru-RU" dirty="0"/>
              <a:t>ИМЯ, ДОЛЖНОСТЬ, ТЕЛЕФОН, </a:t>
            </a:r>
            <a:r>
              <a:rPr lang="en-US" dirty="0"/>
              <a:t>E-MAIL]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/>
                </a:solidFill>
              </a:rPr>
              <a:t>% выполнения </a:t>
            </a:r>
            <a:r>
              <a:rPr lang="ru-RU" dirty="0" err="1">
                <a:solidFill>
                  <a:schemeClr val="tx1"/>
                </a:solidFill>
              </a:rPr>
              <a:t>комитментов</a:t>
            </a:r>
            <a:r>
              <a:rPr lang="ru-RU" dirty="0"/>
              <a:t> по бренду</a:t>
            </a:r>
            <a:endParaRPr lang="ru-RU" dirty="0">
              <a:solidFill>
                <a:schemeClr val="tx1"/>
              </a:solidFill>
            </a:endParaRPr>
          </a:p>
          <a:p>
            <a:br>
              <a:rPr lang="ru-RU" dirty="0"/>
            </a:br>
            <a:endParaRPr lang="ru-RU" dirty="0"/>
          </a:p>
        </p:txBody>
      </p:sp>
      <p:sp>
        <p:nvSpPr>
          <p:cNvPr id="18" name="Облачко с текстом: прямоугольное со скругленными углами 17">
            <a:extLst>
              <a:ext uri="{FF2B5EF4-FFF2-40B4-BE49-F238E27FC236}">
                <a16:creationId xmlns:a16="http://schemas.microsoft.com/office/drawing/2014/main" id="{328BA2A4-A4F2-4859-820E-C1D39FBECDBC}"/>
              </a:ext>
            </a:extLst>
          </p:cNvPr>
          <p:cNvSpPr/>
          <p:nvPr/>
        </p:nvSpPr>
        <p:spPr>
          <a:xfrm>
            <a:off x="3461521" y="2112320"/>
            <a:ext cx="4453731" cy="619973"/>
          </a:xfrm>
          <a:prstGeom prst="wedgeRoundRectCallout">
            <a:avLst>
              <a:gd name="adj1" fmla="val 11404"/>
              <a:gd name="adj2" fmla="val 141942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Страница создается автоматически в момент загрузки расчета, если бренда еще не было, если был, то дополняется списком с возможностью его раскрыть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>
            <a:hlinkClick r:id="rId12" action="ppaction://hlinksldjump"/>
            <a:extLst>
              <a:ext uri="{FF2B5EF4-FFF2-40B4-BE49-F238E27FC236}">
                <a16:creationId xmlns:a16="http://schemas.microsoft.com/office/drawing/2014/main" id="{C6B91C6F-B446-4904-BFBB-4ECAB2571BCE}"/>
              </a:ext>
            </a:extLst>
          </p:cNvPr>
          <p:cNvSpPr/>
          <p:nvPr/>
        </p:nvSpPr>
        <p:spPr>
          <a:xfrm>
            <a:off x="3913153" y="8764380"/>
            <a:ext cx="2459071" cy="455071"/>
          </a:xfrm>
          <a:prstGeom prst="rect">
            <a:avLst/>
          </a:prstGeom>
          <a:solidFill>
            <a:srgbClr val="00B050"/>
          </a:solidFill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МП СОГЛАСОВАН</a:t>
            </a:r>
          </a:p>
        </p:txBody>
      </p:sp>
    </p:spTree>
    <p:extLst>
      <p:ext uri="{BB962C8B-B14F-4D97-AF65-F5344CB8AC3E}">
        <p14:creationId xmlns:p14="http://schemas.microsoft.com/office/powerpoint/2010/main" val="450636638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9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</a:t>
            </a:r>
            <a:r>
              <a:rPr lang="ru-RU" sz="9600" dirty="0"/>
              <a:t>5</a:t>
            </a:r>
            <a:r>
              <a:rPr lang="en-US" sz="9600" dirty="0"/>
              <a:t> – </a:t>
            </a:r>
            <a:r>
              <a:rPr lang="ru-RU" sz="9600" dirty="0"/>
              <a:t>ПЕРЕХОД ПО КНОПКЕ</a:t>
            </a: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442CBB-2924-45E7-B8B8-D82688D70F26}"/>
              </a:ext>
            </a:extLst>
          </p:cNvPr>
          <p:cNvSpPr txBox="1"/>
          <p:nvPr/>
        </p:nvSpPr>
        <p:spPr>
          <a:xfrm>
            <a:off x="12686506" y="1084746"/>
            <a:ext cx="4077494" cy="246221"/>
          </a:xfrm>
          <a:prstGeom prst="rect">
            <a:avLst/>
          </a:prstGeom>
          <a:solidFill>
            <a:srgbClr val="CACACA"/>
          </a:solidFill>
        </p:spPr>
        <p:txBody>
          <a:bodyPr wrap="square">
            <a:spAutoFit/>
          </a:bodyPr>
          <a:lstStyle/>
          <a:p>
            <a:r>
              <a:rPr lang="en-US" sz="1000" dirty="0"/>
              <a:t>[</a:t>
            </a:r>
            <a:r>
              <a:rPr lang="ru-RU" sz="1000" dirty="0"/>
              <a:t>Согласованные планы, инфо по запуску, статус открутки</a:t>
            </a:r>
            <a:r>
              <a:rPr lang="en-US" sz="1000" dirty="0"/>
              <a:t>]</a:t>
            </a:r>
            <a:endParaRPr lang="ru-RU" sz="100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21341BF-3254-43DF-A36C-221EA6CF29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3931" y="945918"/>
            <a:ext cx="1552575" cy="523875"/>
          </a:xfrm>
          <a:prstGeom prst="rect">
            <a:avLst/>
          </a:prstGeom>
        </p:spPr>
      </p:pic>
      <p:graphicFrame>
        <p:nvGraphicFramePr>
          <p:cNvPr id="15" name="Схема 14">
            <a:extLst>
              <a:ext uri="{FF2B5EF4-FFF2-40B4-BE49-F238E27FC236}">
                <a16:creationId xmlns:a16="http://schemas.microsoft.com/office/drawing/2014/main" id="{8F0607B7-CAE6-45B3-B54A-ED1F2EDBCA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0776486"/>
              </p:ext>
            </p:extLst>
          </p:nvPr>
        </p:nvGraphicFramePr>
        <p:xfrm>
          <a:off x="2338627" y="2217567"/>
          <a:ext cx="6771968" cy="24679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E2742C9-F49A-437F-A1D0-6DDFE18374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1820" y="5621642"/>
            <a:ext cx="14944725" cy="39145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Облачко с текстом: прямоугольное со скругленными углами 16">
            <a:extLst>
              <a:ext uri="{FF2B5EF4-FFF2-40B4-BE49-F238E27FC236}">
                <a16:creationId xmlns:a16="http://schemas.microsoft.com/office/drawing/2014/main" id="{C5E8CEE7-1A00-45C4-8A70-0F186EAA63A0}"/>
              </a:ext>
            </a:extLst>
          </p:cNvPr>
          <p:cNvSpPr/>
          <p:nvPr/>
        </p:nvSpPr>
        <p:spPr>
          <a:xfrm>
            <a:off x="8357372" y="4790289"/>
            <a:ext cx="4453731" cy="619973"/>
          </a:xfrm>
          <a:prstGeom prst="wedgeRoundRectCallout">
            <a:avLst>
              <a:gd name="adj1" fmla="val -74356"/>
              <a:gd name="adj2" fmla="val 151160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Подтягивается из системы* или загружается менеджером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69627C0-2F06-416D-BE70-318684CAF390}"/>
              </a:ext>
            </a:extLst>
          </p:cNvPr>
          <p:cNvSpPr txBox="1"/>
          <p:nvPr/>
        </p:nvSpPr>
        <p:spPr>
          <a:xfrm>
            <a:off x="1831820" y="5014116"/>
            <a:ext cx="9825036" cy="392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tx1"/>
                </a:solidFill>
              </a:rPr>
              <a:t>Статистика по РК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E0F9E94-6F24-4855-8887-B7C9960C1E21}"/>
              </a:ext>
            </a:extLst>
          </p:cNvPr>
          <p:cNvSpPr/>
          <p:nvPr/>
        </p:nvSpPr>
        <p:spPr>
          <a:xfrm>
            <a:off x="4417041" y="4983012"/>
            <a:ext cx="1355110" cy="455071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Загрузить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E31FB08-0540-4482-9018-1CE131C0B840}"/>
              </a:ext>
            </a:extLst>
          </p:cNvPr>
          <p:cNvSpPr txBox="1"/>
          <p:nvPr/>
        </p:nvSpPr>
        <p:spPr>
          <a:xfrm>
            <a:off x="1182687" y="10272681"/>
            <a:ext cx="9825036" cy="392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tx1"/>
                </a:solidFill>
              </a:rPr>
              <a:t>*проект </a:t>
            </a:r>
            <a:r>
              <a:rPr lang="en-US" dirty="0">
                <a:solidFill>
                  <a:schemeClr val="tx1"/>
                </a:solidFill>
              </a:rPr>
              <a:t>#2</a:t>
            </a:r>
            <a:endParaRPr lang="ru-RU" dirty="0"/>
          </a:p>
        </p:txBody>
      </p:sp>
      <p:sp>
        <p:nvSpPr>
          <p:cNvPr id="21" name="Прямоугольник 20">
            <a:hlinkClick r:id="rId9" action="ppaction://hlinksldjump"/>
            <a:extLst>
              <a:ext uri="{FF2B5EF4-FFF2-40B4-BE49-F238E27FC236}">
                <a16:creationId xmlns:a16="http://schemas.microsoft.com/office/drawing/2014/main" id="{AB6B35D4-CC82-435C-A089-82F3CA7BEE0E}"/>
              </a:ext>
            </a:extLst>
          </p:cNvPr>
          <p:cNvSpPr/>
          <p:nvPr/>
        </p:nvSpPr>
        <p:spPr>
          <a:xfrm>
            <a:off x="14371501" y="4951909"/>
            <a:ext cx="2392499" cy="455071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Завершить проект</a:t>
            </a: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5ADABBFE-1475-4465-92E5-9958800249C2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769682-EA0F-4DF3-895D-93AD97881CE8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24" name="Рисунок 23" descr="Круги со стрелками">
              <a:hlinkClick r:id="rId10" action="ppaction://hlinksldjump"/>
              <a:extLst>
                <a:ext uri="{FF2B5EF4-FFF2-40B4-BE49-F238E27FC236}">
                  <a16:creationId xmlns:a16="http://schemas.microsoft.com/office/drawing/2014/main" id="{D1DB16FD-65A2-4EF5-95D4-33DD210DBD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41732409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1188001" y="947676"/>
            <a:ext cx="16833992" cy="66311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08000" rtlCol="0" anchor="t">
            <a:noAutofit/>
          </a:bodyPr>
          <a:lstStyle>
            <a:lvl1pPr algn="l" defTabSz="77697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40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5217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800" cap="all" spc="108" normalizeH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МЕДИАПЛАН ЗА </a:t>
            </a:r>
            <a:r>
              <a:rPr lang="ru-RU" dirty="0">
                <a:solidFill>
                  <a:srgbClr val="C00000"/>
                </a:solidFill>
              </a:rPr>
              <a:t>5 МИНУТ</a:t>
            </a:r>
            <a:r>
              <a:rPr lang="ru-RU" sz="3000" dirty="0">
                <a:solidFill>
                  <a:srgbClr val="C00000"/>
                </a:solidFill>
              </a:rPr>
              <a:t>*</a:t>
            </a:r>
          </a:p>
        </p:txBody>
      </p:sp>
      <p:sp>
        <p:nvSpPr>
          <p:cNvPr id="178" name="Slide Number Placeholder 2"/>
          <p:cNvSpPr txBox="1">
            <a:spLocks/>
          </p:cNvSpPr>
          <p:nvPr/>
        </p:nvSpPr>
        <p:spPr>
          <a:xfrm>
            <a:off x="17593203" y="10674683"/>
            <a:ext cx="805547" cy="2880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 defTabSz="776973">
              <a:lnSpc>
                <a:spcPct val="100000"/>
              </a:lnSpc>
              <a:spcBef>
                <a:spcPts val="169"/>
              </a:spcBef>
              <a:spcAft>
                <a:spcPts val="169"/>
              </a:spcAft>
              <a:defRPr lang="en-GB" sz="1400" b="0" i="1" kern="800" cap="all" spc="215" baseline="0" smtClean="0">
                <a:solidFill>
                  <a:srgbClr val="44546A">
                    <a:lumMod val="75000"/>
                    <a:lumOff val="25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9B3EF8E5-8FFE-48BE-BBFE-C4DFF7482E3A}" type="slidenum">
              <a:rPr lang="en-US"/>
              <a:pPr/>
              <a:t>2</a:t>
            </a:fld>
            <a:endParaRPr lang="en-US" dirty="0"/>
          </a:p>
        </p:txBody>
      </p:sp>
      <p:graphicFrame>
        <p:nvGraphicFramePr>
          <p:cNvPr id="17" name="Схема 16">
            <a:extLst>
              <a:ext uri="{FF2B5EF4-FFF2-40B4-BE49-F238E27FC236}">
                <a16:creationId xmlns:a16="http://schemas.microsoft.com/office/drawing/2014/main" id="{F985BFCD-F48E-4DEB-B76A-336E56E19E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5286616"/>
              </p:ext>
            </p:extLst>
          </p:nvPr>
        </p:nvGraphicFramePr>
        <p:xfrm>
          <a:off x="4018781" y="1631875"/>
          <a:ext cx="11349240" cy="64909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9" name="Схема 18">
            <a:extLst>
              <a:ext uri="{FF2B5EF4-FFF2-40B4-BE49-F238E27FC236}">
                <a16:creationId xmlns:a16="http://schemas.microsoft.com/office/drawing/2014/main" id="{A56CA407-4D23-45B5-8FE3-2C13795B75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4774140"/>
              </p:ext>
            </p:extLst>
          </p:nvPr>
        </p:nvGraphicFramePr>
        <p:xfrm>
          <a:off x="5987553" y="2463809"/>
          <a:ext cx="13098874" cy="87325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1" name="Заголовок 2">
            <a:extLst>
              <a:ext uri="{FF2B5EF4-FFF2-40B4-BE49-F238E27FC236}">
                <a16:creationId xmlns:a16="http://schemas.microsoft.com/office/drawing/2014/main" id="{53BB4706-D570-4DB9-BDD0-6B840E331531}"/>
              </a:ext>
            </a:extLst>
          </p:cNvPr>
          <p:cNvSpPr txBox="1">
            <a:spLocks/>
          </p:cNvSpPr>
          <p:nvPr/>
        </p:nvSpPr>
        <p:spPr>
          <a:xfrm>
            <a:off x="1071490" y="9795629"/>
            <a:ext cx="11006209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ru-RU" sz="1000" dirty="0"/>
              <a:t>*выгрузка всех доступных вариантов из программы с приоритезацией согласно брифу и вводным агентства</a:t>
            </a:r>
          </a:p>
          <a:p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5403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0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6 – </a:t>
            </a:r>
            <a:r>
              <a:rPr lang="ru-RU" sz="9600" dirty="0"/>
              <a:t>ПЕРЕХОД ПО КНОПКЕ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08D39AB-A9E6-499E-8BCD-CDFC503FAC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91094" y="941196"/>
            <a:ext cx="2609850" cy="67627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C1B4DDF-031E-4EDD-840C-8495107EA5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0894" y="3070641"/>
            <a:ext cx="15240000" cy="828675"/>
          </a:xfrm>
          <a:prstGeom prst="rect">
            <a:avLst/>
          </a:prstGeom>
        </p:spPr>
      </p:pic>
      <p:sp>
        <p:nvSpPr>
          <p:cNvPr id="13" name="Облачко с текстом: прямоугольное со скругленными углами 12">
            <a:extLst>
              <a:ext uri="{FF2B5EF4-FFF2-40B4-BE49-F238E27FC236}">
                <a16:creationId xmlns:a16="http://schemas.microsoft.com/office/drawing/2014/main" id="{53B0B80E-315B-43BC-9980-5D02CEECD3B3}"/>
              </a:ext>
            </a:extLst>
          </p:cNvPr>
          <p:cNvSpPr/>
          <p:nvPr/>
        </p:nvSpPr>
        <p:spPr>
          <a:xfrm>
            <a:off x="12672197" y="3847951"/>
            <a:ext cx="4453731" cy="619973"/>
          </a:xfrm>
          <a:prstGeom prst="wedgeRoundRectCallout">
            <a:avLst>
              <a:gd name="adj1" fmla="val -66871"/>
              <a:gd name="adj2" fmla="val -103876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Подтягивается в раздел, а при переходе по нему – списком выпадает информация с отчетами</a:t>
            </a:r>
            <a:endParaRPr lang="en-US" sz="1200" dirty="0">
              <a:solidFill>
                <a:schemeClr val="tx1"/>
              </a:solidFill>
            </a:endParaRPr>
          </a:p>
        </p:txBody>
      </p:sp>
      <p:graphicFrame>
        <p:nvGraphicFramePr>
          <p:cNvPr id="12" name="Схема 11">
            <a:extLst>
              <a:ext uri="{FF2B5EF4-FFF2-40B4-BE49-F238E27FC236}">
                <a16:creationId xmlns:a16="http://schemas.microsoft.com/office/drawing/2014/main" id="{A900D853-69C4-48CA-B8E5-2CA0BDD8E1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0300322"/>
              </p:ext>
            </p:extLst>
          </p:nvPr>
        </p:nvGraphicFramePr>
        <p:xfrm>
          <a:off x="2381292" y="5447917"/>
          <a:ext cx="14630357" cy="5150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5" name="Облачко с текстом: прямоугольное со скругленными углами 14">
            <a:extLst>
              <a:ext uri="{FF2B5EF4-FFF2-40B4-BE49-F238E27FC236}">
                <a16:creationId xmlns:a16="http://schemas.microsoft.com/office/drawing/2014/main" id="{BEAA3A80-689F-4861-A79B-04CED673E7E5}"/>
              </a:ext>
            </a:extLst>
          </p:cNvPr>
          <p:cNvSpPr/>
          <p:nvPr/>
        </p:nvSpPr>
        <p:spPr>
          <a:xfrm>
            <a:off x="12672197" y="4735421"/>
            <a:ext cx="4453731" cy="515002"/>
          </a:xfrm>
          <a:prstGeom prst="wedgeRoundRectCallout">
            <a:avLst>
              <a:gd name="adj1" fmla="val 284"/>
              <a:gd name="adj2" fmla="val 100460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Открывается раздел </a:t>
            </a:r>
            <a:r>
              <a:rPr lang="en-US" sz="1200" dirty="0">
                <a:solidFill>
                  <a:schemeClr val="tx1"/>
                </a:solidFill>
              </a:rPr>
              <a:t>#</a:t>
            </a:r>
            <a:r>
              <a:rPr lang="ru-RU" sz="1200" dirty="0">
                <a:solidFill>
                  <a:schemeClr val="tx1"/>
                </a:solidFill>
              </a:rPr>
              <a:t>5 (подтягивается из архива)</a:t>
            </a:r>
            <a:endParaRPr lang="en-US" sz="1200" dirty="0">
              <a:solidFill>
                <a:schemeClr val="tx1"/>
              </a:solidFill>
            </a:endParaRPr>
          </a:p>
        </p:txBody>
      </p:sp>
      <p:graphicFrame>
        <p:nvGraphicFramePr>
          <p:cNvPr id="17" name="Схема 16">
            <a:extLst>
              <a:ext uri="{FF2B5EF4-FFF2-40B4-BE49-F238E27FC236}">
                <a16:creationId xmlns:a16="http://schemas.microsoft.com/office/drawing/2014/main" id="{0D2975DD-3D9C-4272-8ED7-9C02E7367D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3373954"/>
              </p:ext>
            </p:extLst>
          </p:nvPr>
        </p:nvGraphicFramePr>
        <p:xfrm>
          <a:off x="2381292" y="6313729"/>
          <a:ext cx="14630357" cy="5150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D466BA5-4196-4968-AC25-458A9C191E77}"/>
              </a:ext>
            </a:extLst>
          </p:cNvPr>
          <p:cNvSpPr/>
          <p:nvPr/>
        </p:nvSpPr>
        <p:spPr>
          <a:xfrm>
            <a:off x="2381292" y="8027080"/>
            <a:ext cx="1237785" cy="236577"/>
          </a:xfrm>
          <a:prstGeom prst="rect">
            <a:avLst/>
          </a:prstGeom>
          <a:solidFill>
            <a:schemeClr val="tx1">
              <a:lumMod val="50000"/>
              <a:lumOff val="50000"/>
              <a:alpha val="4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Все проекты</a:t>
            </a:r>
          </a:p>
        </p:txBody>
      </p:sp>
      <p:graphicFrame>
        <p:nvGraphicFramePr>
          <p:cNvPr id="20" name="Схема 19">
            <a:extLst>
              <a:ext uri="{FF2B5EF4-FFF2-40B4-BE49-F238E27FC236}">
                <a16:creationId xmlns:a16="http://schemas.microsoft.com/office/drawing/2014/main" id="{FCA1E43B-DD70-408E-AC34-6367E37575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9748099"/>
              </p:ext>
            </p:extLst>
          </p:nvPr>
        </p:nvGraphicFramePr>
        <p:xfrm>
          <a:off x="2375715" y="7179541"/>
          <a:ext cx="14630357" cy="5150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21" name="Облачко с текстом: прямоугольное со скругленными углами 20">
            <a:extLst>
              <a:ext uri="{FF2B5EF4-FFF2-40B4-BE49-F238E27FC236}">
                <a16:creationId xmlns:a16="http://schemas.microsoft.com/office/drawing/2014/main" id="{707A50A2-1DF1-4431-B532-5C3A03788536}"/>
              </a:ext>
            </a:extLst>
          </p:cNvPr>
          <p:cNvSpPr/>
          <p:nvPr/>
        </p:nvSpPr>
        <p:spPr>
          <a:xfrm>
            <a:off x="4647003" y="7975065"/>
            <a:ext cx="3039672" cy="1116547"/>
          </a:xfrm>
          <a:prstGeom prst="wedgeRoundRectCallout">
            <a:avLst>
              <a:gd name="adj1" fmla="val -80437"/>
              <a:gd name="adj2" fmla="val -35829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ru-RU" sz="1200" dirty="0">
                <a:solidFill>
                  <a:schemeClr val="tx1"/>
                </a:solidFill>
              </a:rPr>
              <a:t>Сортировка менеджером</a:t>
            </a:r>
          </a:p>
          <a:p>
            <a:pPr marL="171450" indent="-171450">
              <a:buFontTx/>
              <a:buChar char="-"/>
            </a:pPr>
            <a:endParaRPr lang="ru-RU" sz="1200" dirty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ru-RU" sz="1200" dirty="0">
                <a:solidFill>
                  <a:schemeClr val="tx1"/>
                </a:solidFill>
              </a:rPr>
              <a:t>Чтобы открыть остальные проекты – нажимаем на кнопку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472812B0-E382-4BC2-84DE-B4ACD02B1C20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FB22C96-549E-4CC2-87F6-893AE7957029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23" name="Рисунок 22" descr="Круги со стрелками">
              <a:hlinkClick r:id="rId19" action="ppaction://hlinksldjump"/>
              <a:extLst>
                <a:ext uri="{FF2B5EF4-FFF2-40B4-BE49-F238E27FC236}">
                  <a16:creationId xmlns:a16="http://schemas.microsoft.com/office/drawing/2014/main" id="{32399116-D88A-47CB-A270-B5488E1B5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1384831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1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7</a:t>
            </a:r>
            <a:r>
              <a:rPr lang="ru-RU" sz="9600" dirty="0"/>
              <a:t> </a:t>
            </a:r>
            <a:r>
              <a:rPr lang="en-US" sz="9600" dirty="0"/>
              <a:t>– </a:t>
            </a:r>
            <a:r>
              <a:rPr lang="ru-RU" sz="9600" dirty="0"/>
              <a:t>ПЕРЕХОД ПО КНОПКЕ</a:t>
            </a:r>
            <a:r>
              <a:rPr lang="en-US" sz="9600" dirty="0"/>
              <a:t> </a:t>
            </a:r>
            <a:endParaRPr lang="ru-RU" dirty="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18F6A0B-11D1-4721-A126-08D35EB00D76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C914CBB-00D0-4EE0-8792-E8BC08FE23B3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12" name="Рисунок 11" descr="Круги со стрелками">
              <a:hlinkClick r:id="rId2" action="ppaction://hlinksldjump"/>
              <a:extLst>
                <a:ext uri="{FF2B5EF4-FFF2-40B4-BE49-F238E27FC236}">
                  <a16:creationId xmlns:a16="http://schemas.microsoft.com/office/drawing/2014/main" id="{40E93D3B-2219-449D-AB6F-9CAF3B44E7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F424193-1D0A-4F13-B999-1CDD0E0268D3}"/>
              </a:ext>
            </a:extLst>
          </p:cNvPr>
          <p:cNvSpPr txBox="1"/>
          <p:nvPr/>
        </p:nvSpPr>
        <p:spPr>
          <a:xfrm>
            <a:off x="2578894" y="2225875"/>
            <a:ext cx="9825036" cy="9939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tx1"/>
                </a:solidFill>
              </a:rPr>
              <a:t>Кабинет баинга/руководителя</a:t>
            </a:r>
          </a:p>
          <a:p>
            <a:endParaRPr lang="ru-RU" dirty="0"/>
          </a:p>
          <a:p>
            <a:r>
              <a:rPr lang="ru-RU" dirty="0">
                <a:solidFill>
                  <a:schemeClr val="tx1"/>
                </a:solidFill>
              </a:rPr>
              <a:t>% выполнения </a:t>
            </a:r>
            <a:r>
              <a:rPr lang="ru-RU" dirty="0" err="1">
                <a:solidFill>
                  <a:schemeClr val="tx1"/>
                </a:solidFill>
              </a:rPr>
              <a:t>комитментов</a:t>
            </a:r>
            <a:r>
              <a:rPr lang="ru-RU" dirty="0">
                <a:solidFill>
                  <a:schemeClr val="tx1"/>
                </a:solidFill>
              </a:rPr>
              <a:t> по аг-ву с разбивкой по </a:t>
            </a:r>
            <a:r>
              <a:rPr lang="ru-RU" dirty="0" err="1">
                <a:solidFill>
                  <a:schemeClr val="tx1"/>
                </a:solidFill>
              </a:rPr>
              <a:t>селлерам</a:t>
            </a:r>
            <a:r>
              <a:rPr lang="ru-RU" dirty="0">
                <a:solidFill>
                  <a:schemeClr val="tx1"/>
                </a:solidFill>
              </a:rPr>
              <a:t> и тп</a:t>
            </a:r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C5870FE3-0816-4778-96F9-FB1B70CC9A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518563"/>
              </p:ext>
            </p:extLst>
          </p:nvPr>
        </p:nvGraphicFramePr>
        <p:xfrm>
          <a:off x="2498725" y="3678260"/>
          <a:ext cx="7785100" cy="4995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0E32D272-D16C-4585-9B1E-BDB12F1018F0}"/>
              </a:ext>
            </a:extLst>
          </p:cNvPr>
          <p:cNvSpPr txBox="1"/>
          <p:nvPr/>
        </p:nvSpPr>
        <p:spPr>
          <a:xfrm>
            <a:off x="10687049" y="3660171"/>
            <a:ext cx="5781675" cy="9939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ru-RU" dirty="0">
                <a:solidFill>
                  <a:schemeClr val="tx1"/>
                </a:solidFill>
              </a:rPr>
              <a:t>Корректировка приоритетов по </a:t>
            </a:r>
            <a:r>
              <a:rPr lang="ru-RU" dirty="0" err="1">
                <a:solidFill>
                  <a:schemeClr val="tx1"/>
                </a:solidFill>
              </a:rPr>
              <a:t>селлерам</a:t>
            </a:r>
            <a:endParaRPr lang="ru-RU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ru-RU" dirty="0"/>
              <a:t>Изменение условий (скидки, сезонники)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ru-RU" dirty="0"/>
              <a:t>И тп</a:t>
            </a:r>
          </a:p>
        </p:txBody>
      </p:sp>
      <p:sp>
        <p:nvSpPr>
          <p:cNvPr id="16" name="Облачко с текстом: прямоугольное со скругленными углами 15">
            <a:extLst>
              <a:ext uri="{FF2B5EF4-FFF2-40B4-BE49-F238E27FC236}">
                <a16:creationId xmlns:a16="http://schemas.microsoft.com/office/drawing/2014/main" id="{7060EC87-6BF9-462D-8336-313D2DC79DC0}"/>
              </a:ext>
            </a:extLst>
          </p:cNvPr>
          <p:cNvSpPr/>
          <p:nvPr/>
        </p:nvSpPr>
        <p:spPr>
          <a:xfrm>
            <a:off x="13613606" y="2268419"/>
            <a:ext cx="3293269" cy="619973"/>
          </a:xfrm>
          <a:prstGeom prst="wedgeRoundRectCallout">
            <a:avLst>
              <a:gd name="adj1" fmla="val -63235"/>
              <a:gd name="adj2" fmla="val 172668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Через файл с площадками и расчетами (часть, которая закрыта от менеджеров)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0BBE347-8746-47F9-9B06-CFBF5D136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31575" y="906271"/>
            <a:ext cx="1371600" cy="7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901365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2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</a:t>
            </a:r>
            <a:r>
              <a:rPr lang="ru-RU" sz="9600" dirty="0"/>
              <a:t>8 </a:t>
            </a:r>
            <a:r>
              <a:rPr lang="en-US" sz="9600" dirty="0"/>
              <a:t>– </a:t>
            </a:r>
            <a:r>
              <a:rPr lang="ru-RU" sz="9600" dirty="0"/>
              <a:t>ПЕРЕХОД ПО КНОПКЕ</a:t>
            </a:r>
            <a:r>
              <a:rPr lang="en-US" sz="9600" dirty="0"/>
              <a:t> </a:t>
            </a:r>
            <a:endParaRPr lang="ru-RU" dirty="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18F6A0B-11D1-4721-A126-08D35EB00D76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C914CBB-00D0-4EE0-8792-E8BC08FE23B3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12" name="Рисунок 11" descr="Круги со стрелками">
              <a:hlinkClick r:id="rId2" action="ppaction://hlinksldjump"/>
              <a:extLst>
                <a:ext uri="{FF2B5EF4-FFF2-40B4-BE49-F238E27FC236}">
                  <a16:creationId xmlns:a16="http://schemas.microsoft.com/office/drawing/2014/main" id="{40E93D3B-2219-449D-AB6F-9CAF3B44E7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EF58D3B-3FB9-4FB6-AD3F-8681A953BE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7780" y="4089424"/>
            <a:ext cx="9263856" cy="41730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1035F11-FC07-4C56-9CB4-5D033AAB25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91081" y="870377"/>
            <a:ext cx="2733675" cy="742950"/>
          </a:xfrm>
          <a:prstGeom prst="rect">
            <a:avLst/>
          </a:prstGeom>
        </p:spPr>
      </p:pic>
      <p:sp>
        <p:nvSpPr>
          <p:cNvPr id="7" name="Овал 6">
            <a:extLst>
              <a:ext uri="{FF2B5EF4-FFF2-40B4-BE49-F238E27FC236}">
                <a16:creationId xmlns:a16="http://schemas.microsoft.com/office/drawing/2014/main" id="{AA7E20D3-5B36-45C5-8F43-BB61F85AE111}"/>
              </a:ext>
            </a:extLst>
          </p:cNvPr>
          <p:cNvSpPr/>
          <p:nvPr/>
        </p:nvSpPr>
        <p:spPr>
          <a:xfrm>
            <a:off x="2374815" y="6175926"/>
            <a:ext cx="9620227" cy="1428750"/>
          </a:xfrm>
          <a:prstGeom prst="ellipse">
            <a:avLst/>
          </a:prstGeom>
          <a:noFill/>
          <a:ln w="7620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блачко с текстом: прямоугольное со скругленными углами 13">
            <a:extLst>
              <a:ext uri="{FF2B5EF4-FFF2-40B4-BE49-F238E27FC236}">
                <a16:creationId xmlns:a16="http://schemas.microsoft.com/office/drawing/2014/main" id="{E481C709-E36B-4509-BC03-DB526B1EA8D5}"/>
              </a:ext>
            </a:extLst>
          </p:cNvPr>
          <p:cNvSpPr/>
          <p:nvPr/>
        </p:nvSpPr>
        <p:spPr>
          <a:xfrm>
            <a:off x="9157471" y="2692519"/>
            <a:ext cx="4453731" cy="619973"/>
          </a:xfrm>
          <a:prstGeom prst="wedgeRoundRectCallout">
            <a:avLst>
              <a:gd name="adj1" fmla="val -35647"/>
              <a:gd name="adj2" fmla="val 561368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Данные автоматически перенаправляются в список: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950680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3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B159AE0-9E3A-4866-AA4B-337DD6ACF9E3}"/>
              </a:ext>
            </a:extLst>
          </p:cNvPr>
          <p:cNvSpPr/>
          <p:nvPr/>
        </p:nvSpPr>
        <p:spPr>
          <a:xfrm>
            <a:off x="1182687" y="1960563"/>
            <a:ext cx="16481425" cy="7673975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ysClr val="windowText" lastClr="000000"/>
              </a:solidFill>
            </a:endParaRPr>
          </a:p>
        </p:txBody>
      </p:sp>
      <p:sp>
        <p:nvSpPr>
          <p:cNvPr id="33" name="Заголовок 5">
            <a:extLst>
              <a:ext uri="{FF2B5EF4-FFF2-40B4-BE49-F238E27FC236}">
                <a16:creationId xmlns:a16="http://schemas.microsoft.com/office/drawing/2014/main" id="{9F52D94E-3F7C-4ADC-98CB-6F1AE883549C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en-US" sz="9600" dirty="0"/>
              <a:t>#</a:t>
            </a:r>
            <a:r>
              <a:rPr lang="ru-RU" sz="9600"/>
              <a:t>9 структура </a:t>
            </a:r>
            <a:r>
              <a:rPr lang="en-US" sz="9600"/>
              <a:t> </a:t>
            </a:r>
            <a:endParaRPr lang="ru-RU" dirty="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18F6A0B-11D1-4721-A126-08D35EB00D76}"/>
              </a:ext>
            </a:extLst>
          </p:cNvPr>
          <p:cNvGrpSpPr/>
          <p:nvPr/>
        </p:nvGrpSpPr>
        <p:grpSpPr>
          <a:xfrm>
            <a:off x="1082478" y="1886783"/>
            <a:ext cx="1155940" cy="1071050"/>
            <a:chOff x="7805442" y="8607145"/>
            <a:chExt cx="1155940" cy="107105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C914CBB-00D0-4EE0-8792-E8BC08FE23B3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12" name="Рисунок 11" descr="Круги со стрелками">
              <a:hlinkClick r:id="rId2" action="ppaction://hlinksldjump"/>
              <a:extLst>
                <a:ext uri="{FF2B5EF4-FFF2-40B4-BE49-F238E27FC236}">
                  <a16:creationId xmlns:a16="http://schemas.microsoft.com/office/drawing/2014/main" id="{40E93D3B-2219-449D-AB6F-9CAF3B44E7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1BAC6AB1-466F-49B2-9F04-C0E7AD0F3C39}"/>
              </a:ext>
            </a:extLst>
          </p:cNvPr>
          <p:cNvGrpSpPr/>
          <p:nvPr/>
        </p:nvGrpSpPr>
        <p:grpSpPr>
          <a:xfrm>
            <a:off x="6999241" y="5712847"/>
            <a:ext cx="1155940" cy="1071050"/>
            <a:chOff x="7805442" y="8607145"/>
            <a:chExt cx="1155940" cy="107105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17D65D1-0211-46F7-89CC-6BBF378A47B9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19" name="Рисунок 18" descr="Круги со стрелками">
              <a:hlinkClick r:id="rId2" action="ppaction://hlinksldjump"/>
              <a:extLst>
                <a:ext uri="{FF2B5EF4-FFF2-40B4-BE49-F238E27FC236}">
                  <a16:creationId xmlns:a16="http://schemas.microsoft.com/office/drawing/2014/main" id="{C467EF12-0130-4EEA-99D2-D1276FB5B0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58E34140-499C-42FC-9106-F2E3778699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8474251"/>
              </p:ext>
            </p:extLst>
          </p:nvPr>
        </p:nvGraphicFramePr>
        <p:xfrm>
          <a:off x="3752849" y="3444751"/>
          <a:ext cx="7648725" cy="45620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52AD256A-4037-47AB-B454-D92C9CEFBD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3492743"/>
              </p:ext>
            </p:extLst>
          </p:nvPr>
        </p:nvGraphicFramePr>
        <p:xfrm>
          <a:off x="8818876" y="2306960"/>
          <a:ext cx="6377787" cy="3442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Облачко с текстом: прямоугольное со скругленными углами 19">
            <a:extLst>
              <a:ext uri="{FF2B5EF4-FFF2-40B4-BE49-F238E27FC236}">
                <a16:creationId xmlns:a16="http://schemas.microsoft.com/office/drawing/2014/main" id="{A763676E-5D3E-4D3A-9628-ABC0E87E33B6}"/>
              </a:ext>
            </a:extLst>
          </p:cNvPr>
          <p:cNvSpPr/>
          <p:nvPr/>
        </p:nvSpPr>
        <p:spPr>
          <a:xfrm>
            <a:off x="11382353" y="6713209"/>
            <a:ext cx="4453731" cy="619973"/>
          </a:xfrm>
          <a:prstGeom prst="wedgeRoundRectCallout">
            <a:avLst>
              <a:gd name="adj1" fmla="val -75853"/>
              <a:gd name="adj2" fmla="val 100460"/>
              <a:gd name="adj3" fmla="val 16667"/>
            </a:avLst>
          </a:prstGeom>
          <a:solidFill>
            <a:srgbClr val="CCCCFF">
              <a:alpha val="4078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Информация по проекту заполняется менеджером (ссылки, материалы, статистика*, отчет, комментарии)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C03457D-B72A-4EB1-94F5-74840E63CAA6}"/>
              </a:ext>
            </a:extLst>
          </p:cNvPr>
          <p:cNvSpPr txBox="1"/>
          <p:nvPr/>
        </p:nvSpPr>
        <p:spPr>
          <a:xfrm>
            <a:off x="1188097" y="10091714"/>
            <a:ext cx="9825036" cy="392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tx1"/>
                </a:solidFill>
              </a:rPr>
              <a:t>* Автоматизация сбора статистики это будет проект №2</a:t>
            </a:r>
          </a:p>
        </p:txBody>
      </p:sp>
    </p:spTree>
    <p:extLst>
      <p:ext uri="{BB962C8B-B14F-4D97-AF65-F5344CB8AC3E}">
        <p14:creationId xmlns:p14="http://schemas.microsoft.com/office/powerpoint/2010/main" val="260917934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3</a:t>
            </a:fld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1606550" y="5242218"/>
            <a:ext cx="7738928" cy="2625334"/>
          </a:xfrm>
          <a:prstGeom prst="rect">
            <a:avLst/>
          </a:prstGeom>
          <a:solidFill>
            <a:srgbClr val="FF3A4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Rectangle 12"/>
          <p:cNvSpPr/>
          <p:nvPr/>
        </p:nvSpPr>
        <p:spPr>
          <a:xfrm>
            <a:off x="1606550" y="2779505"/>
            <a:ext cx="7822464" cy="2429965"/>
          </a:xfrm>
          <a:prstGeom prst="rect">
            <a:avLst/>
          </a:prstGeom>
          <a:solidFill>
            <a:srgbClr val="FF8F9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1606550" y="7898548"/>
            <a:ext cx="7738928" cy="2625334"/>
          </a:xfrm>
          <a:prstGeom prst="rect">
            <a:avLst/>
          </a:prstGeom>
          <a:solidFill>
            <a:srgbClr val="E50013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1627843" y="2779505"/>
            <a:ext cx="0" cy="7744377"/>
          </a:xfrm>
          <a:prstGeom prst="straightConnector1">
            <a:avLst/>
          </a:prstGeom>
          <a:ln w="76200" cmpd="sng">
            <a:solidFill>
              <a:srgbClr val="C64C4E"/>
            </a:solidFill>
            <a:headEnd type="oval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61656" y="3662900"/>
            <a:ext cx="476729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МЕДИАПЛАН В 3 ШАГА</a:t>
            </a:r>
            <a:endParaRPr lang="en-US" b="1" dirty="0"/>
          </a:p>
          <a:p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6180004"/>
            <a:ext cx="6239507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ЗАПУСК ПРОЕКТА И КОНТРОЛЬ</a:t>
            </a:r>
            <a:endParaRPr lang="en-US" b="1" dirty="0"/>
          </a:p>
          <a:p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8901677"/>
            <a:ext cx="6137580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ОТЧЕТНОСТЬ</a:t>
            </a:r>
            <a:endParaRPr lang="ru-RU" dirty="0"/>
          </a:p>
        </p:txBody>
      </p:sp>
      <p:sp>
        <p:nvSpPr>
          <p:cNvPr id="69" name="Rectangle 68"/>
          <p:cNvSpPr/>
          <p:nvPr/>
        </p:nvSpPr>
        <p:spPr>
          <a:xfrm>
            <a:off x="9429014" y="2779504"/>
            <a:ext cx="9432423" cy="7744378"/>
          </a:xfrm>
          <a:prstGeom prst="rect">
            <a:avLst/>
          </a:prstGeom>
          <a:solidFill>
            <a:srgbClr val="FF8F9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26A1C649-4657-413B-A094-EA689D7A2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ДЕЛЛЕГИРУЕМ РУТИННЫЕ ПРОЦЕССЫ </a:t>
            </a:r>
            <a:r>
              <a:rPr lang="en-US" dirty="0"/>
              <a:t>-&gt; </a:t>
            </a:r>
            <a:r>
              <a:rPr lang="ru-RU" dirty="0"/>
              <a:t>программе </a:t>
            </a:r>
            <a:r>
              <a:rPr lang="en-US" dirty="0"/>
              <a:t>DMP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57452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D8DB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МЕДИАПЛАНИРОВАНИЕ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97236" y="11186582"/>
            <a:ext cx="14736233" cy="1573546"/>
          </a:xfrm>
        </p:spPr>
        <p:txBody>
          <a:bodyPr>
            <a:noAutofit/>
          </a:bodyPr>
          <a:lstStyle/>
          <a:p>
            <a:pPr algn="l"/>
            <a:br>
              <a:rPr lang="ru-RU" sz="4029" dirty="0"/>
            </a:br>
            <a:endParaRPr lang="ru-RU" sz="4029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8024F2-301C-46E0-9DB0-E055E7A0C4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4722" y="2089014"/>
            <a:ext cx="7324725" cy="7934325"/>
          </a:xfrm>
          <a:prstGeom prst="rect">
            <a:avLst/>
          </a:prstGeom>
        </p:spPr>
      </p:pic>
      <p:sp>
        <p:nvSpPr>
          <p:cNvPr id="11" name="Заголовок 5">
            <a:extLst>
              <a:ext uri="{FF2B5EF4-FFF2-40B4-BE49-F238E27FC236}">
                <a16:creationId xmlns:a16="http://schemas.microsoft.com/office/drawing/2014/main" id="{C2A605DD-E659-4645-8BAA-1ECD7705A60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9600" dirty="0"/>
              <a:t>ШАГ 1 - ЗАВЕДЕНИЕ БРИФА В ПРОГРАММУ</a:t>
            </a:r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7FB4C3-9DD3-4AF8-ADDD-1CAA0DBDF3C9}"/>
              </a:ext>
            </a:extLst>
          </p:cNvPr>
          <p:cNvSpPr txBox="1"/>
          <p:nvPr/>
        </p:nvSpPr>
        <p:spPr>
          <a:xfrm>
            <a:off x="13260414" y="6984684"/>
            <a:ext cx="4989486" cy="286232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ческая подготовка письма для отдела аналитики </a:t>
            </a:r>
            <a:r>
              <a:rPr lang="ru-RU" sz="2000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ru-RU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ЦА, конкурентов, ренкер)</a:t>
            </a:r>
          </a:p>
          <a:p>
            <a:endParaRPr lang="ru-RU" sz="20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. комментарии/нюансы по проекту (будут добавляться в письма на площадки и сохраняться в системе)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ru-RU" sz="2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85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D8DB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МЕДИАПЛАНИРОВАНИЕ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97236" y="11186582"/>
            <a:ext cx="14736233" cy="1573546"/>
          </a:xfrm>
        </p:spPr>
        <p:txBody>
          <a:bodyPr>
            <a:noAutofit/>
          </a:bodyPr>
          <a:lstStyle/>
          <a:p>
            <a:pPr algn="l"/>
            <a:br>
              <a:rPr lang="ru-RU" sz="4029" dirty="0"/>
            </a:br>
            <a:endParaRPr lang="ru-RU" sz="4029" dirty="0"/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9600" dirty="0"/>
              <a:t>ШАГ 2 - ВЫГРУЗКА РАСЧЕТОВ В ПРОГРАММЕ</a:t>
            </a:r>
            <a:endParaRPr lang="ru-RU" dirty="0"/>
          </a:p>
        </p:txBody>
      </p:sp>
      <p:grpSp>
        <p:nvGrpSpPr>
          <p:cNvPr id="9" name="Группа 917">
            <a:extLst>
              <a:ext uri="{FF2B5EF4-FFF2-40B4-BE49-F238E27FC236}">
                <a16:creationId xmlns:a16="http://schemas.microsoft.com/office/drawing/2014/main" id="{4376E75E-7EFE-4271-A285-1DA566C4DD09}"/>
              </a:ext>
            </a:extLst>
          </p:cNvPr>
          <p:cNvGrpSpPr/>
          <p:nvPr/>
        </p:nvGrpSpPr>
        <p:grpSpPr>
          <a:xfrm>
            <a:off x="12750800" y="2652205"/>
            <a:ext cx="6068569" cy="6068569"/>
            <a:chOff x="4351338" y="3584576"/>
            <a:chExt cx="496888" cy="496888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0" name="Freeform 506">
              <a:extLst>
                <a:ext uri="{FF2B5EF4-FFF2-40B4-BE49-F238E27FC236}">
                  <a16:creationId xmlns:a16="http://schemas.microsoft.com/office/drawing/2014/main" id="{D9CFDDD4-CA56-4B9B-A9DB-0924C71E5D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1338" y="3754439"/>
              <a:ext cx="325438" cy="323850"/>
            </a:xfrm>
            <a:custGeom>
              <a:avLst/>
              <a:gdLst>
                <a:gd name="T0" fmla="*/ 92 w 168"/>
                <a:gd name="T1" fmla="*/ 163 h 167"/>
                <a:gd name="T2" fmla="*/ 76 w 168"/>
                <a:gd name="T3" fmla="*/ 163 h 167"/>
                <a:gd name="T4" fmla="*/ 72 w 168"/>
                <a:gd name="T5" fmla="*/ 167 h 167"/>
                <a:gd name="T6" fmla="*/ 31 w 168"/>
                <a:gd name="T7" fmla="*/ 149 h 167"/>
                <a:gd name="T8" fmla="*/ 36 w 168"/>
                <a:gd name="T9" fmla="*/ 140 h 167"/>
                <a:gd name="T10" fmla="*/ 22 w 168"/>
                <a:gd name="T11" fmla="*/ 134 h 167"/>
                <a:gd name="T12" fmla="*/ 16 w 168"/>
                <a:gd name="T13" fmla="*/ 133 h 167"/>
                <a:gd name="T14" fmla="*/ 0 w 168"/>
                <a:gd name="T15" fmla="*/ 92 h 167"/>
                <a:gd name="T16" fmla="*/ 12 w 168"/>
                <a:gd name="T17" fmla="*/ 84 h 167"/>
                <a:gd name="T18" fmla="*/ 0 w 168"/>
                <a:gd name="T19" fmla="*/ 75 h 167"/>
                <a:gd name="T20" fmla="*/ 16 w 168"/>
                <a:gd name="T21" fmla="*/ 34 h 167"/>
                <a:gd name="T22" fmla="*/ 22 w 168"/>
                <a:gd name="T23" fmla="*/ 33 h 167"/>
                <a:gd name="T24" fmla="*/ 36 w 168"/>
                <a:gd name="T25" fmla="*/ 28 h 167"/>
                <a:gd name="T26" fmla="*/ 31 w 168"/>
                <a:gd name="T27" fmla="*/ 19 h 167"/>
                <a:gd name="T28" fmla="*/ 72 w 168"/>
                <a:gd name="T29" fmla="*/ 1 h 167"/>
                <a:gd name="T30" fmla="*/ 76 w 168"/>
                <a:gd name="T31" fmla="*/ 4 h 167"/>
                <a:gd name="T32" fmla="*/ 92 w 168"/>
                <a:gd name="T33" fmla="*/ 4 h 167"/>
                <a:gd name="T34" fmla="*/ 96 w 168"/>
                <a:gd name="T35" fmla="*/ 1 h 167"/>
                <a:gd name="T36" fmla="*/ 137 w 168"/>
                <a:gd name="T37" fmla="*/ 19 h 167"/>
                <a:gd name="T38" fmla="*/ 132 w 168"/>
                <a:gd name="T39" fmla="*/ 28 h 167"/>
                <a:gd name="T40" fmla="*/ 146 w 168"/>
                <a:gd name="T41" fmla="*/ 33 h 167"/>
                <a:gd name="T42" fmla="*/ 152 w 168"/>
                <a:gd name="T43" fmla="*/ 34 h 167"/>
                <a:gd name="T44" fmla="*/ 168 w 168"/>
                <a:gd name="T45" fmla="*/ 75 h 167"/>
                <a:gd name="T46" fmla="*/ 156 w 168"/>
                <a:gd name="T47" fmla="*/ 84 h 167"/>
                <a:gd name="T48" fmla="*/ 168 w 168"/>
                <a:gd name="T49" fmla="*/ 92 h 167"/>
                <a:gd name="T50" fmla="*/ 152 w 168"/>
                <a:gd name="T51" fmla="*/ 133 h 167"/>
                <a:gd name="T52" fmla="*/ 146 w 168"/>
                <a:gd name="T53" fmla="*/ 134 h 167"/>
                <a:gd name="T54" fmla="*/ 132 w 168"/>
                <a:gd name="T55" fmla="*/ 140 h 167"/>
                <a:gd name="T56" fmla="*/ 137 w 168"/>
                <a:gd name="T57" fmla="*/ 149 h 167"/>
                <a:gd name="T58" fmla="*/ 96 w 168"/>
                <a:gd name="T59" fmla="*/ 167 h 167"/>
                <a:gd name="T60" fmla="*/ 84 w 168"/>
                <a:gd name="T61" fmla="*/ 148 h 167"/>
                <a:gd name="T62" fmla="*/ 126 w 168"/>
                <a:gd name="T63" fmla="*/ 147 h 167"/>
                <a:gd name="T64" fmla="*/ 140 w 168"/>
                <a:gd name="T65" fmla="*/ 124 h 167"/>
                <a:gd name="T66" fmla="*/ 158 w 168"/>
                <a:gd name="T67" fmla="*/ 99 h 167"/>
                <a:gd name="T68" fmla="*/ 158 w 168"/>
                <a:gd name="T69" fmla="*/ 69 h 167"/>
                <a:gd name="T70" fmla="*/ 140 w 168"/>
                <a:gd name="T71" fmla="*/ 44 h 167"/>
                <a:gd name="T72" fmla="*/ 126 w 168"/>
                <a:gd name="T73" fmla="*/ 20 h 167"/>
                <a:gd name="T74" fmla="*/ 84 w 168"/>
                <a:gd name="T75" fmla="*/ 20 h 167"/>
                <a:gd name="T76" fmla="*/ 42 w 168"/>
                <a:gd name="T77" fmla="*/ 20 h 167"/>
                <a:gd name="T78" fmla="*/ 28 w 168"/>
                <a:gd name="T79" fmla="*/ 44 h 167"/>
                <a:gd name="T80" fmla="*/ 10 w 168"/>
                <a:gd name="T81" fmla="*/ 69 h 167"/>
                <a:gd name="T82" fmla="*/ 10 w 168"/>
                <a:gd name="T83" fmla="*/ 99 h 167"/>
                <a:gd name="T84" fmla="*/ 28 w 168"/>
                <a:gd name="T85" fmla="*/ 124 h 167"/>
                <a:gd name="T86" fmla="*/ 42 w 168"/>
                <a:gd name="T87" fmla="*/ 147 h 167"/>
                <a:gd name="T88" fmla="*/ 84 w 168"/>
                <a:gd name="T89" fmla="*/ 14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8" h="167">
                  <a:moveTo>
                    <a:pt x="92" y="167"/>
                  </a:moveTo>
                  <a:cubicBezTo>
                    <a:pt x="92" y="163"/>
                    <a:pt x="92" y="163"/>
                    <a:pt x="92" y="163"/>
                  </a:cubicBezTo>
                  <a:cubicBezTo>
                    <a:pt x="92" y="159"/>
                    <a:pt x="88" y="156"/>
                    <a:pt x="84" y="156"/>
                  </a:cubicBezTo>
                  <a:cubicBezTo>
                    <a:pt x="80" y="156"/>
                    <a:pt x="76" y="159"/>
                    <a:pt x="76" y="163"/>
                  </a:cubicBezTo>
                  <a:cubicBezTo>
                    <a:pt x="76" y="167"/>
                    <a:pt x="76" y="167"/>
                    <a:pt x="76" y="167"/>
                  </a:cubicBezTo>
                  <a:cubicBezTo>
                    <a:pt x="72" y="167"/>
                    <a:pt x="72" y="167"/>
                    <a:pt x="72" y="167"/>
                  </a:cubicBezTo>
                  <a:cubicBezTo>
                    <a:pt x="58" y="165"/>
                    <a:pt x="45" y="159"/>
                    <a:pt x="34" y="151"/>
                  </a:cubicBezTo>
                  <a:cubicBezTo>
                    <a:pt x="31" y="149"/>
                    <a:pt x="31" y="149"/>
                    <a:pt x="31" y="149"/>
                  </a:cubicBezTo>
                  <a:cubicBezTo>
                    <a:pt x="34" y="145"/>
                    <a:pt x="34" y="145"/>
                    <a:pt x="34" y="145"/>
                  </a:cubicBezTo>
                  <a:cubicBezTo>
                    <a:pt x="35" y="144"/>
                    <a:pt x="36" y="142"/>
                    <a:pt x="36" y="140"/>
                  </a:cubicBezTo>
                  <a:cubicBezTo>
                    <a:pt x="36" y="135"/>
                    <a:pt x="32" y="132"/>
                    <a:pt x="28" y="132"/>
                  </a:cubicBezTo>
                  <a:cubicBezTo>
                    <a:pt x="26" y="132"/>
                    <a:pt x="24" y="132"/>
                    <a:pt x="22" y="134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8" y="123"/>
                    <a:pt x="3" y="110"/>
                    <a:pt x="1" y="96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9" y="91"/>
                    <a:pt x="12" y="88"/>
                    <a:pt x="12" y="84"/>
                  </a:cubicBezTo>
                  <a:cubicBezTo>
                    <a:pt x="12" y="80"/>
                    <a:pt x="9" y="76"/>
                    <a:pt x="5" y="76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3" y="58"/>
                    <a:pt x="8" y="45"/>
                    <a:pt x="16" y="34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4" y="35"/>
                    <a:pt x="26" y="36"/>
                    <a:pt x="28" y="36"/>
                  </a:cubicBezTo>
                  <a:cubicBezTo>
                    <a:pt x="32" y="36"/>
                    <a:pt x="36" y="32"/>
                    <a:pt x="36" y="28"/>
                  </a:cubicBezTo>
                  <a:cubicBezTo>
                    <a:pt x="36" y="26"/>
                    <a:pt x="35" y="24"/>
                    <a:pt x="34" y="22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45" y="8"/>
                    <a:pt x="58" y="3"/>
                    <a:pt x="72" y="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9"/>
                    <a:pt x="80" y="12"/>
                    <a:pt x="84" y="12"/>
                  </a:cubicBezTo>
                  <a:cubicBezTo>
                    <a:pt x="88" y="12"/>
                    <a:pt x="92" y="9"/>
                    <a:pt x="92" y="4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110" y="3"/>
                    <a:pt x="123" y="8"/>
                    <a:pt x="134" y="16"/>
                  </a:cubicBezTo>
                  <a:cubicBezTo>
                    <a:pt x="137" y="19"/>
                    <a:pt x="137" y="19"/>
                    <a:pt x="137" y="19"/>
                  </a:cubicBezTo>
                  <a:cubicBezTo>
                    <a:pt x="134" y="22"/>
                    <a:pt x="134" y="22"/>
                    <a:pt x="134" y="22"/>
                  </a:cubicBezTo>
                  <a:cubicBezTo>
                    <a:pt x="133" y="24"/>
                    <a:pt x="132" y="26"/>
                    <a:pt x="132" y="28"/>
                  </a:cubicBezTo>
                  <a:cubicBezTo>
                    <a:pt x="132" y="32"/>
                    <a:pt x="136" y="36"/>
                    <a:pt x="140" y="36"/>
                  </a:cubicBezTo>
                  <a:cubicBezTo>
                    <a:pt x="142" y="36"/>
                    <a:pt x="144" y="35"/>
                    <a:pt x="146" y="33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60" y="45"/>
                    <a:pt x="165" y="58"/>
                    <a:pt x="167" y="71"/>
                  </a:cubicBezTo>
                  <a:cubicBezTo>
                    <a:pt x="168" y="75"/>
                    <a:pt x="168" y="75"/>
                    <a:pt x="168" y="75"/>
                  </a:cubicBezTo>
                  <a:cubicBezTo>
                    <a:pt x="163" y="76"/>
                    <a:pt x="163" y="76"/>
                    <a:pt x="163" y="76"/>
                  </a:cubicBezTo>
                  <a:cubicBezTo>
                    <a:pt x="159" y="76"/>
                    <a:pt x="156" y="80"/>
                    <a:pt x="156" y="84"/>
                  </a:cubicBezTo>
                  <a:cubicBezTo>
                    <a:pt x="156" y="88"/>
                    <a:pt x="159" y="91"/>
                    <a:pt x="163" y="92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7" y="96"/>
                    <a:pt x="167" y="96"/>
                    <a:pt x="167" y="96"/>
                  </a:cubicBezTo>
                  <a:cubicBezTo>
                    <a:pt x="165" y="110"/>
                    <a:pt x="160" y="123"/>
                    <a:pt x="152" y="133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46" y="134"/>
                    <a:pt x="146" y="134"/>
                    <a:pt x="146" y="134"/>
                  </a:cubicBezTo>
                  <a:cubicBezTo>
                    <a:pt x="144" y="132"/>
                    <a:pt x="142" y="132"/>
                    <a:pt x="140" y="132"/>
                  </a:cubicBezTo>
                  <a:cubicBezTo>
                    <a:pt x="136" y="132"/>
                    <a:pt x="132" y="135"/>
                    <a:pt x="132" y="140"/>
                  </a:cubicBezTo>
                  <a:cubicBezTo>
                    <a:pt x="132" y="142"/>
                    <a:pt x="133" y="144"/>
                    <a:pt x="134" y="145"/>
                  </a:cubicBezTo>
                  <a:cubicBezTo>
                    <a:pt x="137" y="149"/>
                    <a:pt x="137" y="149"/>
                    <a:pt x="137" y="149"/>
                  </a:cubicBezTo>
                  <a:cubicBezTo>
                    <a:pt x="134" y="151"/>
                    <a:pt x="134" y="151"/>
                    <a:pt x="134" y="151"/>
                  </a:cubicBezTo>
                  <a:cubicBezTo>
                    <a:pt x="123" y="159"/>
                    <a:pt x="110" y="165"/>
                    <a:pt x="96" y="167"/>
                  </a:cubicBezTo>
                  <a:lnTo>
                    <a:pt x="92" y="167"/>
                  </a:lnTo>
                  <a:close/>
                  <a:moveTo>
                    <a:pt x="84" y="148"/>
                  </a:moveTo>
                  <a:cubicBezTo>
                    <a:pt x="91" y="148"/>
                    <a:pt x="97" y="152"/>
                    <a:pt x="99" y="158"/>
                  </a:cubicBezTo>
                  <a:cubicBezTo>
                    <a:pt x="108" y="156"/>
                    <a:pt x="118" y="152"/>
                    <a:pt x="126" y="147"/>
                  </a:cubicBezTo>
                  <a:cubicBezTo>
                    <a:pt x="125" y="145"/>
                    <a:pt x="124" y="142"/>
                    <a:pt x="124" y="140"/>
                  </a:cubicBezTo>
                  <a:cubicBezTo>
                    <a:pt x="124" y="131"/>
                    <a:pt x="131" y="124"/>
                    <a:pt x="140" y="124"/>
                  </a:cubicBezTo>
                  <a:cubicBezTo>
                    <a:pt x="143" y="124"/>
                    <a:pt x="145" y="124"/>
                    <a:pt x="147" y="125"/>
                  </a:cubicBezTo>
                  <a:cubicBezTo>
                    <a:pt x="153" y="117"/>
                    <a:pt x="157" y="108"/>
                    <a:pt x="158" y="99"/>
                  </a:cubicBezTo>
                  <a:cubicBezTo>
                    <a:pt x="152" y="96"/>
                    <a:pt x="148" y="90"/>
                    <a:pt x="148" y="84"/>
                  </a:cubicBezTo>
                  <a:cubicBezTo>
                    <a:pt x="148" y="77"/>
                    <a:pt x="152" y="71"/>
                    <a:pt x="158" y="69"/>
                  </a:cubicBezTo>
                  <a:cubicBezTo>
                    <a:pt x="157" y="59"/>
                    <a:pt x="153" y="50"/>
                    <a:pt x="147" y="42"/>
                  </a:cubicBezTo>
                  <a:cubicBezTo>
                    <a:pt x="145" y="43"/>
                    <a:pt x="143" y="44"/>
                    <a:pt x="140" y="44"/>
                  </a:cubicBezTo>
                  <a:cubicBezTo>
                    <a:pt x="131" y="44"/>
                    <a:pt x="124" y="37"/>
                    <a:pt x="124" y="28"/>
                  </a:cubicBezTo>
                  <a:cubicBezTo>
                    <a:pt x="124" y="25"/>
                    <a:pt x="125" y="23"/>
                    <a:pt x="126" y="20"/>
                  </a:cubicBezTo>
                  <a:cubicBezTo>
                    <a:pt x="118" y="15"/>
                    <a:pt x="108" y="11"/>
                    <a:pt x="99" y="9"/>
                  </a:cubicBezTo>
                  <a:cubicBezTo>
                    <a:pt x="97" y="15"/>
                    <a:pt x="91" y="20"/>
                    <a:pt x="84" y="20"/>
                  </a:cubicBezTo>
                  <a:cubicBezTo>
                    <a:pt x="77" y="20"/>
                    <a:pt x="71" y="15"/>
                    <a:pt x="69" y="9"/>
                  </a:cubicBezTo>
                  <a:cubicBezTo>
                    <a:pt x="59" y="11"/>
                    <a:pt x="50" y="15"/>
                    <a:pt x="42" y="20"/>
                  </a:cubicBezTo>
                  <a:cubicBezTo>
                    <a:pt x="43" y="23"/>
                    <a:pt x="44" y="25"/>
                    <a:pt x="44" y="28"/>
                  </a:cubicBezTo>
                  <a:cubicBezTo>
                    <a:pt x="44" y="37"/>
                    <a:pt x="37" y="44"/>
                    <a:pt x="28" y="44"/>
                  </a:cubicBezTo>
                  <a:cubicBezTo>
                    <a:pt x="25" y="44"/>
                    <a:pt x="23" y="43"/>
                    <a:pt x="21" y="42"/>
                  </a:cubicBezTo>
                  <a:cubicBezTo>
                    <a:pt x="15" y="50"/>
                    <a:pt x="11" y="59"/>
                    <a:pt x="10" y="69"/>
                  </a:cubicBezTo>
                  <a:cubicBezTo>
                    <a:pt x="16" y="71"/>
                    <a:pt x="20" y="77"/>
                    <a:pt x="20" y="84"/>
                  </a:cubicBezTo>
                  <a:cubicBezTo>
                    <a:pt x="20" y="90"/>
                    <a:pt x="16" y="96"/>
                    <a:pt x="10" y="99"/>
                  </a:cubicBezTo>
                  <a:cubicBezTo>
                    <a:pt x="11" y="108"/>
                    <a:pt x="15" y="117"/>
                    <a:pt x="21" y="125"/>
                  </a:cubicBezTo>
                  <a:cubicBezTo>
                    <a:pt x="23" y="124"/>
                    <a:pt x="25" y="124"/>
                    <a:pt x="28" y="124"/>
                  </a:cubicBezTo>
                  <a:cubicBezTo>
                    <a:pt x="37" y="124"/>
                    <a:pt x="44" y="131"/>
                    <a:pt x="44" y="140"/>
                  </a:cubicBezTo>
                  <a:cubicBezTo>
                    <a:pt x="44" y="142"/>
                    <a:pt x="43" y="145"/>
                    <a:pt x="42" y="147"/>
                  </a:cubicBezTo>
                  <a:cubicBezTo>
                    <a:pt x="50" y="152"/>
                    <a:pt x="59" y="156"/>
                    <a:pt x="69" y="158"/>
                  </a:cubicBezTo>
                  <a:cubicBezTo>
                    <a:pt x="71" y="152"/>
                    <a:pt x="77" y="148"/>
                    <a:pt x="84" y="1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507">
              <a:extLst>
                <a:ext uri="{FF2B5EF4-FFF2-40B4-BE49-F238E27FC236}">
                  <a16:creationId xmlns:a16="http://schemas.microsoft.com/office/drawing/2014/main" id="{FAA749E0-D9E7-4B21-AA85-1EFF31FAD8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7063" y="3840164"/>
              <a:ext cx="155575" cy="155575"/>
            </a:xfrm>
            <a:custGeom>
              <a:avLst/>
              <a:gdLst>
                <a:gd name="T0" fmla="*/ 40 w 80"/>
                <a:gd name="T1" fmla="*/ 80 h 80"/>
                <a:gd name="T2" fmla="*/ 0 w 80"/>
                <a:gd name="T3" fmla="*/ 40 h 80"/>
                <a:gd name="T4" fmla="*/ 40 w 80"/>
                <a:gd name="T5" fmla="*/ 0 h 80"/>
                <a:gd name="T6" fmla="*/ 80 w 80"/>
                <a:gd name="T7" fmla="*/ 40 h 80"/>
                <a:gd name="T8" fmla="*/ 40 w 80"/>
                <a:gd name="T9" fmla="*/ 80 h 80"/>
                <a:gd name="T10" fmla="*/ 40 w 80"/>
                <a:gd name="T11" fmla="*/ 8 h 80"/>
                <a:gd name="T12" fmla="*/ 8 w 80"/>
                <a:gd name="T13" fmla="*/ 40 h 80"/>
                <a:gd name="T14" fmla="*/ 40 w 80"/>
                <a:gd name="T15" fmla="*/ 72 h 80"/>
                <a:gd name="T16" fmla="*/ 72 w 80"/>
                <a:gd name="T17" fmla="*/ 40 h 80"/>
                <a:gd name="T18" fmla="*/ 40 w 80"/>
                <a:gd name="T19" fmla="*/ 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0">
                  <a:moveTo>
                    <a:pt x="40" y="80"/>
                  </a:moveTo>
                  <a:cubicBezTo>
                    <a:pt x="18" y="80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  <a:cubicBezTo>
                    <a:pt x="80" y="62"/>
                    <a:pt x="62" y="80"/>
                    <a:pt x="40" y="80"/>
                  </a:cubicBezTo>
                  <a:close/>
                  <a:moveTo>
                    <a:pt x="40" y="8"/>
                  </a:moveTo>
                  <a:cubicBezTo>
                    <a:pt x="22" y="8"/>
                    <a:pt x="8" y="22"/>
                    <a:pt x="8" y="40"/>
                  </a:cubicBezTo>
                  <a:cubicBezTo>
                    <a:pt x="8" y="57"/>
                    <a:pt x="22" y="72"/>
                    <a:pt x="40" y="72"/>
                  </a:cubicBezTo>
                  <a:cubicBezTo>
                    <a:pt x="58" y="72"/>
                    <a:pt x="72" y="57"/>
                    <a:pt x="72" y="40"/>
                  </a:cubicBezTo>
                  <a:cubicBezTo>
                    <a:pt x="72" y="22"/>
                    <a:pt x="58" y="8"/>
                    <a:pt x="4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508">
              <a:extLst>
                <a:ext uri="{FF2B5EF4-FFF2-40B4-BE49-F238E27FC236}">
                  <a16:creationId xmlns:a16="http://schemas.microsoft.com/office/drawing/2014/main" id="{EDD3917B-659F-48C1-B455-6832A1B175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3101" y="3886201"/>
              <a:ext cx="61913" cy="63500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8 h 32"/>
                <a:gd name="T12" fmla="*/ 8 w 32"/>
                <a:gd name="T13" fmla="*/ 16 h 32"/>
                <a:gd name="T14" fmla="*/ 16 w 32"/>
                <a:gd name="T15" fmla="*/ 24 h 32"/>
                <a:gd name="T16" fmla="*/ 24 w 32"/>
                <a:gd name="T17" fmla="*/ 16 h 32"/>
                <a:gd name="T18" fmla="*/ 16 w 32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2" y="8"/>
                    <a:pt x="8" y="11"/>
                    <a:pt x="8" y="16"/>
                  </a:cubicBezTo>
                  <a:cubicBezTo>
                    <a:pt x="8" y="20"/>
                    <a:pt x="12" y="24"/>
                    <a:pt x="16" y="24"/>
                  </a:cubicBezTo>
                  <a:cubicBezTo>
                    <a:pt x="20" y="24"/>
                    <a:pt x="24" y="20"/>
                    <a:pt x="24" y="16"/>
                  </a:cubicBezTo>
                  <a:cubicBezTo>
                    <a:pt x="24" y="11"/>
                    <a:pt x="20" y="8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Freeform 509">
              <a:extLst>
                <a:ext uri="{FF2B5EF4-FFF2-40B4-BE49-F238E27FC236}">
                  <a16:creationId xmlns:a16="http://schemas.microsoft.com/office/drawing/2014/main" id="{7ABD6310-5E03-4033-99BA-6BF49F81CA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0576" y="3584576"/>
              <a:ext cx="247650" cy="246063"/>
            </a:xfrm>
            <a:custGeom>
              <a:avLst/>
              <a:gdLst>
                <a:gd name="T0" fmla="*/ 72 w 128"/>
                <a:gd name="T1" fmla="*/ 123 h 127"/>
                <a:gd name="T2" fmla="*/ 56 w 128"/>
                <a:gd name="T3" fmla="*/ 123 h 127"/>
                <a:gd name="T4" fmla="*/ 51 w 128"/>
                <a:gd name="T5" fmla="*/ 126 h 127"/>
                <a:gd name="T6" fmla="*/ 25 w 128"/>
                <a:gd name="T7" fmla="*/ 115 h 127"/>
                <a:gd name="T8" fmla="*/ 28 w 128"/>
                <a:gd name="T9" fmla="*/ 108 h 127"/>
                <a:gd name="T10" fmla="*/ 16 w 128"/>
                <a:gd name="T11" fmla="*/ 101 h 127"/>
                <a:gd name="T12" fmla="*/ 11 w 128"/>
                <a:gd name="T13" fmla="*/ 99 h 127"/>
                <a:gd name="T14" fmla="*/ 0 w 128"/>
                <a:gd name="T15" fmla="*/ 72 h 127"/>
                <a:gd name="T16" fmla="*/ 12 w 128"/>
                <a:gd name="T17" fmla="*/ 64 h 127"/>
                <a:gd name="T18" fmla="*/ 0 w 128"/>
                <a:gd name="T19" fmla="*/ 55 h 127"/>
                <a:gd name="T20" fmla="*/ 11 w 128"/>
                <a:gd name="T21" fmla="*/ 28 h 127"/>
                <a:gd name="T22" fmla="*/ 16 w 128"/>
                <a:gd name="T23" fmla="*/ 27 h 127"/>
                <a:gd name="T24" fmla="*/ 28 w 128"/>
                <a:gd name="T25" fmla="*/ 20 h 127"/>
                <a:gd name="T26" fmla="*/ 25 w 128"/>
                <a:gd name="T27" fmla="*/ 13 h 127"/>
                <a:gd name="T28" fmla="*/ 51 w 128"/>
                <a:gd name="T29" fmla="*/ 1 h 127"/>
                <a:gd name="T30" fmla="*/ 56 w 128"/>
                <a:gd name="T31" fmla="*/ 4 h 127"/>
                <a:gd name="T32" fmla="*/ 72 w 128"/>
                <a:gd name="T33" fmla="*/ 4 h 127"/>
                <a:gd name="T34" fmla="*/ 77 w 128"/>
                <a:gd name="T35" fmla="*/ 1 h 127"/>
                <a:gd name="T36" fmla="*/ 103 w 128"/>
                <a:gd name="T37" fmla="*/ 13 h 127"/>
                <a:gd name="T38" fmla="*/ 100 w 128"/>
                <a:gd name="T39" fmla="*/ 20 h 127"/>
                <a:gd name="T40" fmla="*/ 112 w 128"/>
                <a:gd name="T41" fmla="*/ 27 h 127"/>
                <a:gd name="T42" fmla="*/ 117 w 128"/>
                <a:gd name="T43" fmla="*/ 28 h 127"/>
                <a:gd name="T44" fmla="*/ 128 w 128"/>
                <a:gd name="T45" fmla="*/ 55 h 127"/>
                <a:gd name="T46" fmla="*/ 116 w 128"/>
                <a:gd name="T47" fmla="*/ 64 h 127"/>
                <a:gd name="T48" fmla="*/ 128 w 128"/>
                <a:gd name="T49" fmla="*/ 72 h 127"/>
                <a:gd name="T50" fmla="*/ 117 w 128"/>
                <a:gd name="T51" fmla="*/ 99 h 127"/>
                <a:gd name="T52" fmla="*/ 112 w 128"/>
                <a:gd name="T53" fmla="*/ 101 h 127"/>
                <a:gd name="T54" fmla="*/ 100 w 128"/>
                <a:gd name="T55" fmla="*/ 108 h 127"/>
                <a:gd name="T56" fmla="*/ 103 w 128"/>
                <a:gd name="T57" fmla="*/ 115 h 127"/>
                <a:gd name="T58" fmla="*/ 77 w 128"/>
                <a:gd name="T59" fmla="*/ 126 h 127"/>
                <a:gd name="T60" fmla="*/ 64 w 128"/>
                <a:gd name="T61" fmla="*/ 108 h 127"/>
                <a:gd name="T62" fmla="*/ 93 w 128"/>
                <a:gd name="T63" fmla="*/ 112 h 127"/>
                <a:gd name="T64" fmla="*/ 108 w 128"/>
                <a:gd name="T65" fmla="*/ 92 h 127"/>
                <a:gd name="T66" fmla="*/ 118 w 128"/>
                <a:gd name="T67" fmla="*/ 78 h 127"/>
                <a:gd name="T68" fmla="*/ 118 w 128"/>
                <a:gd name="T69" fmla="*/ 49 h 127"/>
                <a:gd name="T70" fmla="*/ 108 w 128"/>
                <a:gd name="T71" fmla="*/ 36 h 127"/>
                <a:gd name="T72" fmla="*/ 93 w 128"/>
                <a:gd name="T73" fmla="*/ 16 h 127"/>
                <a:gd name="T74" fmla="*/ 64 w 128"/>
                <a:gd name="T75" fmla="*/ 20 h 127"/>
                <a:gd name="T76" fmla="*/ 35 w 128"/>
                <a:gd name="T77" fmla="*/ 16 h 127"/>
                <a:gd name="T78" fmla="*/ 20 w 128"/>
                <a:gd name="T79" fmla="*/ 36 h 127"/>
                <a:gd name="T80" fmla="*/ 10 w 128"/>
                <a:gd name="T81" fmla="*/ 49 h 127"/>
                <a:gd name="T82" fmla="*/ 10 w 128"/>
                <a:gd name="T83" fmla="*/ 78 h 127"/>
                <a:gd name="T84" fmla="*/ 20 w 128"/>
                <a:gd name="T85" fmla="*/ 92 h 127"/>
                <a:gd name="T86" fmla="*/ 35 w 128"/>
                <a:gd name="T87" fmla="*/ 112 h 127"/>
                <a:gd name="T88" fmla="*/ 64 w 128"/>
                <a:gd name="T89" fmla="*/ 108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8" h="127">
                  <a:moveTo>
                    <a:pt x="72" y="127"/>
                  </a:moveTo>
                  <a:cubicBezTo>
                    <a:pt x="72" y="123"/>
                    <a:pt x="72" y="123"/>
                    <a:pt x="72" y="123"/>
                  </a:cubicBezTo>
                  <a:cubicBezTo>
                    <a:pt x="71" y="119"/>
                    <a:pt x="68" y="116"/>
                    <a:pt x="64" y="116"/>
                  </a:cubicBezTo>
                  <a:cubicBezTo>
                    <a:pt x="60" y="116"/>
                    <a:pt x="57" y="119"/>
                    <a:pt x="56" y="123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1" y="126"/>
                    <a:pt x="51" y="126"/>
                    <a:pt x="51" y="126"/>
                  </a:cubicBezTo>
                  <a:cubicBezTo>
                    <a:pt x="43" y="125"/>
                    <a:pt x="35" y="121"/>
                    <a:pt x="28" y="117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8" y="110"/>
                    <a:pt x="28" y="109"/>
                    <a:pt x="28" y="108"/>
                  </a:cubicBezTo>
                  <a:cubicBezTo>
                    <a:pt x="28" y="103"/>
                    <a:pt x="24" y="100"/>
                    <a:pt x="20" y="100"/>
                  </a:cubicBezTo>
                  <a:cubicBezTo>
                    <a:pt x="19" y="100"/>
                    <a:pt x="17" y="100"/>
                    <a:pt x="16" y="101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6" y="92"/>
                    <a:pt x="3" y="85"/>
                    <a:pt x="1" y="7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9" y="71"/>
                    <a:pt x="12" y="68"/>
                    <a:pt x="12" y="64"/>
                  </a:cubicBezTo>
                  <a:cubicBezTo>
                    <a:pt x="12" y="60"/>
                    <a:pt x="9" y="56"/>
                    <a:pt x="5" y="5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3" y="43"/>
                    <a:pt x="6" y="35"/>
                    <a:pt x="11" y="28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7" y="27"/>
                    <a:pt x="19" y="28"/>
                    <a:pt x="20" y="28"/>
                  </a:cubicBezTo>
                  <a:cubicBezTo>
                    <a:pt x="24" y="28"/>
                    <a:pt x="28" y="24"/>
                    <a:pt x="28" y="20"/>
                  </a:cubicBezTo>
                  <a:cubicBezTo>
                    <a:pt x="28" y="18"/>
                    <a:pt x="28" y="17"/>
                    <a:pt x="27" y="16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35" y="6"/>
                    <a:pt x="43" y="3"/>
                    <a:pt x="51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7" y="9"/>
                    <a:pt x="60" y="12"/>
                    <a:pt x="64" y="12"/>
                  </a:cubicBezTo>
                  <a:cubicBezTo>
                    <a:pt x="68" y="12"/>
                    <a:pt x="71" y="9"/>
                    <a:pt x="72" y="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85" y="3"/>
                    <a:pt x="93" y="6"/>
                    <a:pt x="100" y="11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0" y="17"/>
                    <a:pt x="100" y="18"/>
                    <a:pt x="100" y="20"/>
                  </a:cubicBezTo>
                  <a:cubicBezTo>
                    <a:pt x="100" y="24"/>
                    <a:pt x="104" y="28"/>
                    <a:pt x="108" y="28"/>
                  </a:cubicBezTo>
                  <a:cubicBezTo>
                    <a:pt x="109" y="28"/>
                    <a:pt x="111" y="27"/>
                    <a:pt x="112" y="27"/>
                  </a:cubicBezTo>
                  <a:cubicBezTo>
                    <a:pt x="115" y="25"/>
                    <a:pt x="115" y="25"/>
                    <a:pt x="115" y="25"/>
                  </a:cubicBezTo>
                  <a:cubicBezTo>
                    <a:pt x="117" y="28"/>
                    <a:pt x="117" y="28"/>
                    <a:pt x="117" y="28"/>
                  </a:cubicBezTo>
                  <a:cubicBezTo>
                    <a:pt x="122" y="35"/>
                    <a:pt x="125" y="43"/>
                    <a:pt x="127" y="51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19" y="56"/>
                    <a:pt x="116" y="60"/>
                    <a:pt x="116" y="64"/>
                  </a:cubicBezTo>
                  <a:cubicBezTo>
                    <a:pt x="116" y="68"/>
                    <a:pt x="119" y="71"/>
                    <a:pt x="123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5" y="85"/>
                    <a:pt x="122" y="92"/>
                    <a:pt x="117" y="99"/>
                  </a:cubicBezTo>
                  <a:cubicBezTo>
                    <a:pt x="115" y="102"/>
                    <a:pt x="115" y="102"/>
                    <a:pt x="115" y="102"/>
                  </a:cubicBezTo>
                  <a:cubicBezTo>
                    <a:pt x="112" y="101"/>
                    <a:pt x="112" y="101"/>
                    <a:pt x="112" y="101"/>
                  </a:cubicBezTo>
                  <a:cubicBezTo>
                    <a:pt x="111" y="100"/>
                    <a:pt x="109" y="100"/>
                    <a:pt x="108" y="100"/>
                  </a:cubicBezTo>
                  <a:cubicBezTo>
                    <a:pt x="104" y="100"/>
                    <a:pt x="100" y="103"/>
                    <a:pt x="100" y="108"/>
                  </a:cubicBezTo>
                  <a:cubicBezTo>
                    <a:pt x="100" y="109"/>
                    <a:pt x="100" y="110"/>
                    <a:pt x="101" y="111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0" y="117"/>
                    <a:pt x="100" y="117"/>
                    <a:pt x="100" y="117"/>
                  </a:cubicBezTo>
                  <a:cubicBezTo>
                    <a:pt x="93" y="121"/>
                    <a:pt x="85" y="125"/>
                    <a:pt x="77" y="126"/>
                  </a:cubicBezTo>
                  <a:lnTo>
                    <a:pt x="72" y="127"/>
                  </a:lnTo>
                  <a:close/>
                  <a:moveTo>
                    <a:pt x="64" y="108"/>
                  </a:moveTo>
                  <a:cubicBezTo>
                    <a:pt x="71" y="108"/>
                    <a:pt x="76" y="112"/>
                    <a:pt x="79" y="118"/>
                  </a:cubicBezTo>
                  <a:cubicBezTo>
                    <a:pt x="84" y="116"/>
                    <a:pt x="88" y="114"/>
                    <a:pt x="93" y="112"/>
                  </a:cubicBezTo>
                  <a:cubicBezTo>
                    <a:pt x="92" y="110"/>
                    <a:pt x="92" y="109"/>
                    <a:pt x="92" y="108"/>
                  </a:cubicBezTo>
                  <a:cubicBezTo>
                    <a:pt x="92" y="99"/>
                    <a:pt x="99" y="92"/>
                    <a:pt x="108" y="92"/>
                  </a:cubicBezTo>
                  <a:cubicBezTo>
                    <a:pt x="109" y="92"/>
                    <a:pt x="111" y="92"/>
                    <a:pt x="112" y="92"/>
                  </a:cubicBezTo>
                  <a:cubicBezTo>
                    <a:pt x="115" y="88"/>
                    <a:pt x="117" y="83"/>
                    <a:pt x="118" y="78"/>
                  </a:cubicBezTo>
                  <a:cubicBezTo>
                    <a:pt x="112" y="76"/>
                    <a:pt x="108" y="70"/>
                    <a:pt x="108" y="64"/>
                  </a:cubicBezTo>
                  <a:cubicBezTo>
                    <a:pt x="108" y="57"/>
                    <a:pt x="112" y="51"/>
                    <a:pt x="118" y="49"/>
                  </a:cubicBezTo>
                  <a:cubicBezTo>
                    <a:pt x="117" y="44"/>
                    <a:pt x="115" y="39"/>
                    <a:pt x="112" y="35"/>
                  </a:cubicBezTo>
                  <a:cubicBezTo>
                    <a:pt x="111" y="35"/>
                    <a:pt x="109" y="36"/>
                    <a:pt x="108" y="36"/>
                  </a:cubicBezTo>
                  <a:cubicBezTo>
                    <a:pt x="99" y="36"/>
                    <a:pt x="92" y="29"/>
                    <a:pt x="92" y="20"/>
                  </a:cubicBezTo>
                  <a:cubicBezTo>
                    <a:pt x="92" y="18"/>
                    <a:pt x="92" y="17"/>
                    <a:pt x="93" y="16"/>
                  </a:cubicBezTo>
                  <a:cubicBezTo>
                    <a:pt x="88" y="13"/>
                    <a:pt x="84" y="11"/>
                    <a:pt x="79" y="10"/>
                  </a:cubicBezTo>
                  <a:cubicBezTo>
                    <a:pt x="76" y="16"/>
                    <a:pt x="71" y="20"/>
                    <a:pt x="64" y="20"/>
                  </a:cubicBezTo>
                  <a:cubicBezTo>
                    <a:pt x="57" y="20"/>
                    <a:pt x="52" y="16"/>
                    <a:pt x="49" y="10"/>
                  </a:cubicBezTo>
                  <a:cubicBezTo>
                    <a:pt x="44" y="11"/>
                    <a:pt x="40" y="13"/>
                    <a:pt x="35" y="16"/>
                  </a:cubicBezTo>
                  <a:cubicBezTo>
                    <a:pt x="36" y="17"/>
                    <a:pt x="36" y="18"/>
                    <a:pt x="36" y="20"/>
                  </a:cubicBezTo>
                  <a:cubicBezTo>
                    <a:pt x="36" y="29"/>
                    <a:pt x="29" y="36"/>
                    <a:pt x="20" y="36"/>
                  </a:cubicBezTo>
                  <a:cubicBezTo>
                    <a:pt x="19" y="36"/>
                    <a:pt x="17" y="35"/>
                    <a:pt x="16" y="35"/>
                  </a:cubicBezTo>
                  <a:cubicBezTo>
                    <a:pt x="13" y="39"/>
                    <a:pt x="11" y="44"/>
                    <a:pt x="10" y="49"/>
                  </a:cubicBezTo>
                  <a:cubicBezTo>
                    <a:pt x="16" y="51"/>
                    <a:pt x="20" y="57"/>
                    <a:pt x="20" y="64"/>
                  </a:cubicBezTo>
                  <a:cubicBezTo>
                    <a:pt x="20" y="70"/>
                    <a:pt x="16" y="76"/>
                    <a:pt x="10" y="78"/>
                  </a:cubicBezTo>
                  <a:cubicBezTo>
                    <a:pt x="11" y="83"/>
                    <a:pt x="13" y="88"/>
                    <a:pt x="16" y="92"/>
                  </a:cubicBezTo>
                  <a:cubicBezTo>
                    <a:pt x="17" y="92"/>
                    <a:pt x="19" y="92"/>
                    <a:pt x="20" y="92"/>
                  </a:cubicBezTo>
                  <a:cubicBezTo>
                    <a:pt x="29" y="92"/>
                    <a:pt x="36" y="99"/>
                    <a:pt x="36" y="108"/>
                  </a:cubicBezTo>
                  <a:cubicBezTo>
                    <a:pt x="36" y="109"/>
                    <a:pt x="36" y="110"/>
                    <a:pt x="35" y="112"/>
                  </a:cubicBezTo>
                  <a:cubicBezTo>
                    <a:pt x="40" y="114"/>
                    <a:pt x="44" y="116"/>
                    <a:pt x="49" y="118"/>
                  </a:cubicBezTo>
                  <a:cubicBezTo>
                    <a:pt x="52" y="112"/>
                    <a:pt x="57" y="108"/>
                    <a:pt x="64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510">
              <a:extLst>
                <a:ext uri="{FF2B5EF4-FFF2-40B4-BE49-F238E27FC236}">
                  <a16:creationId xmlns:a16="http://schemas.microsoft.com/office/drawing/2014/main" id="{030F4A6A-BA2B-460D-B72F-FF7B7C79A3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4713" y="3670301"/>
              <a:ext cx="77788" cy="76200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511">
              <a:extLst>
                <a:ext uri="{FF2B5EF4-FFF2-40B4-BE49-F238E27FC236}">
                  <a16:creationId xmlns:a16="http://schemas.microsoft.com/office/drawing/2014/main" id="{C56FDF31-1BD8-4B18-B84B-F601AC140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38" y="3584576"/>
              <a:ext cx="279400" cy="225425"/>
            </a:xfrm>
            <a:custGeom>
              <a:avLst/>
              <a:gdLst>
                <a:gd name="T0" fmla="*/ 8 w 144"/>
                <a:gd name="T1" fmla="*/ 116 h 116"/>
                <a:gd name="T2" fmla="*/ 0 w 144"/>
                <a:gd name="T3" fmla="*/ 116 h 116"/>
                <a:gd name="T4" fmla="*/ 0 w 144"/>
                <a:gd name="T5" fmla="*/ 112 h 116"/>
                <a:gd name="T6" fmla="*/ 136 w 144"/>
                <a:gd name="T7" fmla="*/ 0 h 116"/>
                <a:gd name="T8" fmla="*/ 144 w 144"/>
                <a:gd name="T9" fmla="*/ 0 h 116"/>
                <a:gd name="T10" fmla="*/ 144 w 144"/>
                <a:gd name="T11" fmla="*/ 8 h 116"/>
                <a:gd name="T12" fmla="*/ 136 w 144"/>
                <a:gd name="T13" fmla="*/ 8 h 116"/>
                <a:gd name="T14" fmla="*/ 8 w 144"/>
                <a:gd name="T15" fmla="*/ 112 h 116"/>
                <a:gd name="T16" fmla="*/ 8 w 144"/>
                <a:gd name="T1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16">
                  <a:moveTo>
                    <a:pt x="8" y="116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" y="41"/>
                    <a:pt x="73" y="0"/>
                    <a:pt x="136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76" y="8"/>
                    <a:pt x="12" y="47"/>
                    <a:pt x="8" y="112"/>
                  </a:cubicBezTo>
                  <a:lnTo>
                    <a:pt x="8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512">
              <a:extLst>
                <a:ext uri="{FF2B5EF4-FFF2-40B4-BE49-F238E27FC236}">
                  <a16:creationId xmlns:a16="http://schemas.microsoft.com/office/drawing/2014/main" id="{EAF24518-4695-400D-981B-316F11966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2801" y="3802064"/>
              <a:ext cx="225425" cy="279400"/>
            </a:xfrm>
            <a:custGeom>
              <a:avLst/>
              <a:gdLst>
                <a:gd name="T0" fmla="*/ 0 w 116"/>
                <a:gd name="T1" fmla="*/ 144 h 144"/>
                <a:gd name="T2" fmla="*/ 0 w 116"/>
                <a:gd name="T3" fmla="*/ 136 h 144"/>
                <a:gd name="T4" fmla="*/ 4 w 116"/>
                <a:gd name="T5" fmla="*/ 136 h 144"/>
                <a:gd name="T6" fmla="*/ 108 w 116"/>
                <a:gd name="T7" fmla="*/ 8 h 144"/>
                <a:gd name="T8" fmla="*/ 108 w 116"/>
                <a:gd name="T9" fmla="*/ 0 h 144"/>
                <a:gd name="T10" fmla="*/ 116 w 116"/>
                <a:gd name="T11" fmla="*/ 0 h 144"/>
                <a:gd name="T12" fmla="*/ 116 w 116"/>
                <a:gd name="T13" fmla="*/ 8 h 144"/>
                <a:gd name="T14" fmla="*/ 4 w 116"/>
                <a:gd name="T15" fmla="*/ 144 h 144"/>
                <a:gd name="T16" fmla="*/ 0 w 116"/>
                <a:gd name="T1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" h="144">
                  <a:moveTo>
                    <a:pt x="0" y="144"/>
                  </a:moveTo>
                  <a:cubicBezTo>
                    <a:pt x="0" y="136"/>
                    <a:pt x="0" y="136"/>
                    <a:pt x="0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69" y="132"/>
                    <a:pt x="108" y="67"/>
                    <a:pt x="108" y="8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71"/>
                    <a:pt x="74" y="139"/>
                    <a:pt x="4" y="144"/>
                  </a:cubicBezTo>
                  <a:lnTo>
                    <a:pt x="0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8FFD1C6-2442-4D47-9923-001AD3C7A5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46" t="39665" r="13571" b="48624"/>
          <a:stretch/>
        </p:blipFill>
        <p:spPr>
          <a:xfrm>
            <a:off x="965216" y="8905207"/>
            <a:ext cx="17281115" cy="13442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31550504-5307-4F2F-8EF7-847057FDB8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2417629"/>
              </p:ext>
            </p:extLst>
          </p:nvPr>
        </p:nvGraphicFramePr>
        <p:xfrm>
          <a:off x="1188097" y="1791242"/>
          <a:ext cx="11562703" cy="68171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69CB6154-CAD9-4A90-A808-854E3610E071}"/>
              </a:ext>
            </a:extLst>
          </p:cNvPr>
          <p:cNvSpPr txBox="1"/>
          <p:nvPr/>
        </p:nvSpPr>
        <p:spPr>
          <a:xfrm>
            <a:off x="557051" y="11058364"/>
            <a:ext cx="19401546" cy="3097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*с максимально подробными примерами и рекомендациями по размещениям, собираем экспертизу аг-ва и используем для всех проектов</a:t>
            </a:r>
          </a:p>
          <a:p>
            <a:r>
              <a:rPr lang="ru-RU" dirty="0"/>
              <a:t>** селлеру для согласования/уточнения условий (</a:t>
            </a:r>
            <a:r>
              <a:rPr lang="en-US" dirty="0"/>
              <a:t>e-mail</a:t>
            </a:r>
            <a:r>
              <a:rPr lang="ru-RU" dirty="0"/>
              <a:t>, содержание письма и проч.)</a:t>
            </a:r>
          </a:p>
          <a:p>
            <a:pPr lvl="0"/>
            <a:r>
              <a:rPr lang="ru-RU" dirty="0"/>
              <a:t>***данные по каждой позиции из отчетов по РК, нюансы по размещениям (например, Яндекс.Недвижимость фид - при отсутствии средств в кабинете на карточке объекта отображается «отсутствуют квартиры в продаже», т.е. равномерная открутку звонков не рекомендуем, чтобы не вводить аудиторию в заблуждение), селлерам (предоплата, добросовестность селлера, частные ошибки /например, с пикселями)</a:t>
            </a:r>
          </a:p>
          <a:p>
            <a:pPr lvl="0"/>
            <a:r>
              <a:rPr lang="ru-RU" dirty="0"/>
              <a:t>**** МЕДИАПЛЕНЕРОВ на:</a:t>
            </a:r>
          </a:p>
          <a:p>
            <a:pPr lvl="1">
              <a:buAutoNum type="arabicPeriod"/>
            </a:pPr>
            <a:r>
              <a:rPr lang="ru-RU" dirty="0"/>
              <a:t> своевременное закрытие коммитов (путем отслеживания системой)</a:t>
            </a:r>
          </a:p>
          <a:p>
            <a:pPr lvl="1">
              <a:buAutoNum type="arabicPeriod"/>
            </a:pPr>
            <a:r>
              <a:rPr lang="ru-RU" dirty="0"/>
              <a:t> согласование медиапланов и увеличение бюджетов Клиента путем анализа не согласованных планов, корректировок условий в будущем, увеличения бонусных размещений // командная работа с баингом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85515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D8DB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МЕДИАПЛАНИРОВАНИЕ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97236" y="11186582"/>
            <a:ext cx="14736233" cy="1573546"/>
          </a:xfrm>
        </p:spPr>
        <p:txBody>
          <a:bodyPr>
            <a:noAutofit/>
          </a:bodyPr>
          <a:lstStyle/>
          <a:p>
            <a:pPr algn="l"/>
            <a:br>
              <a:rPr lang="ru-RU" sz="4029" dirty="0"/>
            </a:br>
            <a:endParaRPr lang="ru-RU" sz="4029" dirty="0"/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ru-RU" sz="9600" dirty="0"/>
              <a:t>ШАГ 3 - ВЫГРУЗКА В </a:t>
            </a:r>
            <a:r>
              <a:rPr lang="en-US" sz="9600" dirty="0"/>
              <a:t>EXCEL</a:t>
            </a:r>
            <a:endParaRPr lang="ru-RU" dirty="0"/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738DB864-AD29-42DD-8676-498D219C97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11" t="20741" r="9721" b="23704"/>
          <a:stretch/>
        </p:blipFill>
        <p:spPr>
          <a:xfrm>
            <a:off x="4089400" y="4364189"/>
            <a:ext cx="12892280" cy="46486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0EC90A44-3FE4-405C-B3E6-6F42D2A3AA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179520"/>
              </p:ext>
            </p:extLst>
          </p:nvPr>
        </p:nvGraphicFramePr>
        <p:xfrm>
          <a:off x="-878076" y="2239944"/>
          <a:ext cx="12153899" cy="19870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49B6FB1B-FB5A-40C6-87CC-09D4D8B47C55}"/>
              </a:ext>
            </a:extLst>
          </p:cNvPr>
          <p:cNvSpPr txBox="1">
            <a:spLocks/>
          </p:cNvSpPr>
          <p:nvPr/>
        </p:nvSpPr>
        <p:spPr>
          <a:xfrm>
            <a:off x="443914" y="10720074"/>
            <a:ext cx="17579537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endParaRPr lang="ru-RU" sz="2417" dirty="0"/>
          </a:p>
          <a:p>
            <a:pPr marL="368412" indent="-368412">
              <a:buAutoNum type="arabicPeriod"/>
            </a:pPr>
            <a:r>
              <a:rPr lang="ru-RU" sz="2417" dirty="0"/>
              <a:t>в программе отбираем релевантные размещения, остальное удаляется (письмо селлеру формируется на позиции, которые отобраны)</a:t>
            </a:r>
          </a:p>
          <a:p>
            <a:pPr marL="368412" indent="-368412">
              <a:buAutoNum type="arabicPeriod"/>
            </a:pPr>
            <a:r>
              <a:rPr lang="en-US" sz="2417" dirty="0"/>
              <a:t>excel </a:t>
            </a:r>
            <a:r>
              <a:rPr lang="ru-RU" sz="2417" dirty="0"/>
              <a:t>формируется автоматически в соответствии с персональным шаблоном медиаплана Клиента</a:t>
            </a:r>
            <a:endParaRPr lang="en-US" sz="2417" dirty="0"/>
          </a:p>
          <a:p>
            <a:endParaRPr lang="ru-RU" sz="2417" dirty="0"/>
          </a:p>
        </p:txBody>
      </p:sp>
      <p:sp>
        <p:nvSpPr>
          <p:cNvPr id="58" name="Rectangle 42">
            <a:extLst>
              <a:ext uri="{FF2B5EF4-FFF2-40B4-BE49-F238E27FC236}">
                <a16:creationId xmlns:a16="http://schemas.microsoft.com/office/drawing/2014/main" id="{6B994A01-789B-4247-BB10-2C7F3E1699ED}"/>
              </a:ext>
            </a:extLst>
          </p:cNvPr>
          <p:cNvSpPr/>
          <p:nvPr/>
        </p:nvSpPr>
        <p:spPr>
          <a:xfrm>
            <a:off x="8884073" y="8655267"/>
            <a:ext cx="8097608" cy="12003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астично формируется ppt //тактика – бриф, графики по ресурсам, базовые шаблонные слайды</a:t>
            </a:r>
          </a:p>
          <a:p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1863915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1">
            <a:extLst>
              <a:ext uri="{FF2B5EF4-FFF2-40B4-BE49-F238E27FC236}">
                <a16:creationId xmlns:a16="http://schemas.microsoft.com/office/drawing/2014/main" id="{C2618E69-37C2-4045-AD10-CB514998FD90}"/>
              </a:ext>
            </a:extLst>
          </p:cNvPr>
          <p:cNvSpPr/>
          <p:nvPr/>
        </p:nvSpPr>
        <p:spPr>
          <a:xfrm>
            <a:off x="1606550" y="5242218"/>
            <a:ext cx="7822464" cy="2625334"/>
          </a:xfrm>
          <a:prstGeom prst="rect">
            <a:avLst/>
          </a:prstGeom>
          <a:solidFill>
            <a:srgbClr val="FF3A4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7</a:t>
            </a:fld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1606550" y="7898548"/>
            <a:ext cx="7738928" cy="2625334"/>
          </a:xfrm>
          <a:prstGeom prst="rect">
            <a:avLst/>
          </a:prstGeom>
          <a:solidFill>
            <a:srgbClr val="E50013">
              <a:alpha val="4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1627843" y="2779505"/>
            <a:ext cx="0" cy="7744377"/>
          </a:xfrm>
          <a:prstGeom prst="straightConnector1">
            <a:avLst/>
          </a:prstGeom>
          <a:ln w="76200" cmpd="sng">
            <a:solidFill>
              <a:srgbClr val="C64C4E"/>
            </a:solidFill>
            <a:headEnd type="oval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61656" y="3662900"/>
            <a:ext cx="476729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МЕДИАПЛАН В 3 ШАГА</a:t>
            </a:r>
            <a:endParaRPr lang="en-US" b="1" dirty="0"/>
          </a:p>
          <a:p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6180004"/>
            <a:ext cx="6239507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ЗАПУСК ПРОЕКТА</a:t>
            </a:r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C97AE7-EAEC-4C6A-BD73-CC5B71F8632E}"/>
              </a:ext>
            </a:extLst>
          </p:cNvPr>
          <p:cNvSpPr txBox="1"/>
          <p:nvPr/>
        </p:nvSpPr>
        <p:spPr>
          <a:xfrm>
            <a:off x="2281103" y="8901677"/>
            <a:ext cx="6137580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b="1" dirty="0"/>
              <a:t>КОНТРОЛЬ И ОТЧЕТНОСТЬ</a:t>
            </a:r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26A1C649-4657-413B-A094-EA689D7A2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ДЕЛЛЕГИРУЕМ РУТИННЫЕ ПРОЦЕССЫ </a:t>
            </a:r>
            <a:r>
              <a:rPr lang="en-US" dirty="0"/>
              <a:t>-&gt; DMP</a:t>
            </a:r>
            <a:endParaRPr lang="ru-RU" dirty="0"/>
          </a:p>
        </p:txBody>
      </p:sp>
      <p:sp>
        <p:nvSpPr>
          <p:cNvPr id="15" name="Rectangle 68">
            <a:extLst>
              <a:ext uri="{FF2B5EF4-FFF2-40B4-BE49-F238E27FC236}">
                <a16:creationId xmlns:a16="http://schemas.microsoft.com/office/drawing/2014/main" id="{71375686-3126-4770-B47D-425800ECC511}"/>
              </a:ext>
            </a:extLst>
          </p:cNvPr>
          <p:cNvSpPr/>
          <p:nvPr/>
        </p:nvSpPr>
        <p:spPr>
          <a:xfrm>
            <a:off x="9429014" y="2779504"/>
            <a:ext cx="9432423" cy="7744378"/>
          </a:xfrm>
          <a:prstGeom prst="rect">
            <a:avLst/>
          </a:prstGeom>
          <a:solidFill>
            <a:srgbClr val="FFBA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78915EC0-AF68-4E21-9856-BAC231781700}"/>
              </a:ext>
            </a:extLst>
          </p:cNvPr>
          <p:cNvSpPr/>
          <p:nvPr/>
        </p:nvSpPr>
        <p:spPr>
          <a:xfrm>
            <a:off x="1606550" y="2779505"/>
            <a:ext cx="7738928" cy="2429965"/>
          </a:xfrm>
          <a:prstGeom prst="rect">
            <a:avLst/>
          </a:prstGeom>
          <a:solidFill>
            <a:srgbClr val="FF8F98">
              <a:alpha val="3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4AC7A8-BB12-4BF6-901F-AEC3B6371084}"/>
              </a:ext>
            </a:extLst>
          </p:cNvPr>
          <p:cNvSpPr txBox="1"/>
          <p:nvPr/>
        </p:nvSpPr>
        <p:spPr>
          <a:xfrm>
            <a:off x="1606550" y="11247498"/>
            <a:ext cx="9823450" cy="392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четкий алгоритм по проекту напоминаниями, в том числе для новичков</a:t>
            </a:r>
          </a:p>
        </p:txBody>
      </p:sp>
    </p:spTree>
    <p:extLst>
      <p:ext uri="{BB962C8B-B14F-4D97-AF65-F5344CB8AC3E}">
        <p14:creationId xmlns:p14="http://schemas.microsoft.com/office/powerpoint/2010/main" val="1348020996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BABF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ЗАПУСК ПРОЕКТА</a:t>
            </a:r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ru-RU" sz="9600" dirty="0"/>
              <a:t>ШАГ 1 - БРОНИРОВАНИЕ</a:t>
            </a:r>
            <a:endParaRPr lang="ru-RU" dirty="0"/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738DB864-AD29-42DD-8676-498D219C97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11" t="20741" r="9721" b="23704"/>
          <a:stretch/>
        </p:blipFill>
        <p:spPr>
          <a:xfrm>
            <a:off x="1545029" y="5142851"/>
            <a:ext cx="5428424" cy="19573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49B6FB1B-FB5A-40C6-87CC-09D4D8B47C55}"/>
              </a:ext>
            </a:extLst>
          </p:cNvPr>
          <p:cNvSpPr txBox="1">
            <a:spLocks/>
          </p:cNvSpPr>
          <p:nvPr/>
        </p:nvSpPr>
        <p:spPr>
          <a:xfrm>
            <a:off x="423452" y="11318204"/>
            <a:ext cx="17579537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endParaRPr lang="ru-RU" sz="2417" dirty="0"/>
          </a:p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*строгие даты РК, разные посадочные, смена креатива с определенного числа и прочее</a:t>
            </a:r>
          </a:p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**формируются и рассылаются брони с расчетом, но без скидок (в соответствии с селлерами)</a:t>
            </a:r>
          </a:p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***В копии письма стоит баинг, пленэр и ассистент. Обсуждение свободности, скидок и прочих доп.условий берут на себя пленэр и баинг. Готовится апдейт плана, при необходимости</a:t>
            </a:r>
          </a:p>
          <a:p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417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2671277-597E-4DB5-8C38-B4B05FE815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6228" y="5032922"/>
            <a:ext cx="6287223" cy="5029778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1C1FBD9-2009-4B01-81A5-EA556A7E44B6}"/>
              </a:ext>
            </a:extLst>
          </p:cNvPr>
          <p:cNvSpPr/>
          <p:nvPr/>
        </p:nvSpPr>
        <p:spPr>
          <a:xfrm>
            <a:off x="11853960" y="6318750"/>
            <a:ext cx="553449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Добрый день, коллеги,</a:t>
            </a:r>
          </a:p>
          <a:p>
            <a:endParaRPr lang="ru-RU" sz="1200" dirty="0"/>
          </a:p>
          <a:p>
            <a:r>
              <a:rPr lang="ru-RU" sz="1200" dirty="0"/>
              <a:t>просьба забронировать размещение:</a:t>
            </a:r>
          </a:p>
          <a:p>
            <a:r>
              <a:rPr lang="en-US" sz="1200" dirty="0"/>
              <a:t>Odnoklassniki.ru, </a:t>
            </a:r>
            <a:br>
              <a:rPr lang="en-US" sz="1200" dirty="0"/>
            </a:br>
            <a:r>
              <a:rPr lang="en-US" sz="1200" dirty="0"/>
              <a:t>Post-box, </a:t>
            </a:r>
            <a:br>
              <a:rPr lang="en-US" sz="1200" dirty="0"/>
            </a:br>
            <a:r>
              <a:rPr lang="en-US" sz="1200" dirty="0"/>
              <a:t>Moi Mir,</a:t>
            </a:r>
            <a:br>
              <a:rPr lang="en-US" sz="1200" dirty="0"/>
            </a:br>
            <a:r>
              <a:rPr lang="en-US" sz="1200" dirty="0"/>
              <a:t>Otveti </a:t>
            </a:r>
            <a:endParaRPr lang="ru-RU" sz="1200" dirty="0"/>
          </a:p>
          <a:p>
            <a:r>
              <a:rPr lang="ru-RU" sz="1200" dirty="0"/>
              <a:t>Внутренние страницы, РФ, муж, 25-45, </a:t>
            </a:r>
            <a:r>
              <a:rPr lang="en-US" sz="1200" dirty="0"/>
              <a:t>F=3 </a:t>
            </a:r>
            <a:r>
              <a:rPr lang="ru-RU" sz="1200" dirty="0"/>
              <a:t>в нед (</a:t>
            </a:r>
            <a:r>
              <a:rPr lang="en-US" sz="1200" dirty="0"/>
              <a:t>cross) 240x400 </a:t>
            </a:r>
            <a:endParaRPr lang="ru-RU" sz="1200" dirty="0"/>
          </a:p>
          <a:p>
            <a:r>
              <a:rPr lang="ru-RU" sz="1200" dirty="0"/>
              <a:t>Период: 22.09 - 28.09, 13.10 - 19.10 </a:t>
            </a:r>
          </a:p>
          <a:p>
            <a:r>
              <a:rPr lang="ru-RU" sz="1200" dirty="0"/>
              <a:t>Цена (за единицу покупки): 50,00р. </a:t>
            </a:r>
          </a:p>
          <a:p>
            <a:r>
              <a:rPr lang="ru-RU" sz="1200" dirty="0"/>
              <a:t>+20% таргетинг по полу</a:t>
            </a:r>
          </a:p>
          <a:p>
            <a:r>
              <a:rPr lang="ru-RU" sz="1200" dirty="0"/>
              <a:t>+20% таргетинг по возрасту</a:t>
            </a:r>
          </a:p>
          <a:p>
            <a:r>
              <a:rPr lang="ru-RU" sz="1200" dirty="0"/>
              <a:t>+30% сезонный коэффициент</a:t>
            </a:r>
          </a:p>
          <a:p>
            <a:r>
              <a:rPr lang="ru-RU" sz="1200" dirty="0"/>
              <a:t>=93,6р. (без учета НДС и скидок)</a:t>
            </a:r>
          </a:p>
          <a:p>
            <a:r>
              <a:rPr lang="ru-RU" sz="1200" dirty="0"/>
              <a:t>5 500К показов в неделю (2 недели)</a:t>
            </a:r>
          </a:p>
          <a:p>
            <a:r>
              <a:rPr lang="ru-RU" sz="1200" dirty="0"/>
              <a:t>Итого: 1 029 600р. (без учета НДС и скидок)</a:t>
            </a:r>
          </a:p>
          <a:p>
            <a:r>
              <a:rPr lang="ru-RU" sz="1200" dirty="0"/>
              <a:t>Если в указанный период нет свободности, то просьба уточнить ее на ближайший период.</a:t>
            </a: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C6C94E6B-F8A8-4A34-A52E-1F729B4B8BD0}"/>
              </a:ext>
            </a:extLst>
          </p:cNvPr>
          <p:cNvSpPr/>
          <p:nvPr/>
        </p:nvSpPr>
        <p:spPr>
          <a:xfrm>
            <a:off x="1123498" y="3586336"/>
            <a:ext cx="57612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612"/>
              </a:spcBef>
              <a:buClr>
                <a:srgbClr val="0070C0"/>
              </a:buClr>
              <a:buSzPct val="75000"/>
            </a:pPr>
            <a:r>
              <a:rPr lang="ru-RU" sz="2000" b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ГРУЖАЕТСЯ СОГЛАСОВАННЫЙ ПЛАН</a:t>
            </a:r>
          </a:p>
        </p:txBody>
      </p:sp>
      <p:cxnSp>
        <p:nvCxnSpPr>
          <p:cNvPr id="20" name="Elbow Connector 3">
            <a:extLst>
              <a:ext uri="{FF2B5EF4-FFF2-40B4-BE49-F238E27FC236}">
                <a16:creationId xmlns:a16="http://schemas.microsoft.com/office/drawing/2014/main" id="{C598E22E-0F7F-4F18-BBC5-087117463F01}"/>
              </a:ext>
            </a:extLst>
          </p:cNvPr>
          <p:cNvCxnSpPr/>
          <p:nvPr/>
        </p:nvCxnSpPr>
        <p:spPr>
          <a:xfrm>
            <a:off x="5886062" y="4761444"/>
            <a:ext cx="2911821" cy="542957"/>
          </a:xfrm>
          <a:prstGeom prst="bentConnector3">
            <a:avLst/>
          </a:prstGeom>
          <a:ln w="12700" cmpd="sng"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34">
            <a:extLst>
              <a:ext uri="{FF2B5EF4-FFF2-40B4-BE49-F238E27FC236}">
                <a16:creationId xmlns:a16="http://schemas.microsoft.com/office/drawing/2014/main" id="{8105CB0B-7CD8-494F-8790-4E25DB535FE8}"/>
              </a:ext>
            </a:extLst>
          </p:cNvPr>
          <p:cNvCxnSpPr/>
          <p:nvPr/>
        </p:nvCxnSpPr>
        <p:spPr>
          <a:xfrm flipV="1">
            <a:off x="5886063" y="7041688"/>
            <a:ext cx="2911821" cy="542957"/>
          </a:xfrm>
          <a:prstGeom prst="bentConnector3">
            <a:avLst/>
          </a:prstGeom>
          <a:ln w="12700" cmpd="sng">
            <a:solidFill>
              <a:schemeClr val="accent6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40">
            <a:extLst>
              <a:ext uri="{FF2B5EF4-FFF2-40B4-BE49-F238E27FC236}">
                <a16:creationId xmlns:a16="http://schemas.microsoft.com/office/drawing/2014/main" id="{5F78B8F9-9DEE-40CB-82F8-AF358B43BC93}"/>
              </a:ext>
            </a:extLst>
          </p:cNvPr>
          <p:cNvCxnSpPr/>
          <p:nvPr/>
        </p:nvCxnSpPr>
        <p:spPr>
          <a:xfrm flipH="1">
            <a:off x="9885821" y="4708682"/>
            <a:ext cx="2911821" cy="542957"/>
          </a:xfrm>
          <a:prstGeom prst="bentConnector3">
            <a:avLst/>
          </a:prstGeom>
          <a:ln w="12700" cmpd="sng">
            <a:prstDash val="sysDot"/>
            <a:headEnd type="triangl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le 48">
            <a:extLst>
              <a:ext uri="{FF2B5EF4-FFF2-40B4-BE49-F238E27FC236}">
                <a16:creationId xmlns:a16="http://schemas.microsoft.com/office/drawing/2014/main" id="{41DB966F-6A72-46D0-92F3-94659AFE21BB}"/>
              </a:ext>
            </a:extLst>
          </p:cNvPr>
          <p:cNvSpPr/>
          <p:nvPr/>
        </p:nvSpPr>
        <p:spPr>
          <a:xfrm>
            <a:off x="11387093" y="3581707"/>
            <a:ext cx="73136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612"/>
              </a:spcBef>
              <a:buClr>
                <a:srgbClr val="0070C0"/>
              </a:buClr>
              <a:buSzPct val="75000"/>
            </a:pPr>
            <a:r>
              <a:rPr lang="ru-RU" sz="2000" b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ВТОМАТИЧЕСКАЯ РАССЫЛКА  БРОНЕЙ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5408C87-E0BE-4A07-963D-179501EBADB5}"/>
              </a:ext>
            </a:extLst>
          </p:cNvPr>
          <p:cNvSpPr txBox="1"/>
          <p:nvPr/>
        </p:nvSpPr>
        <p:spPr>
          <a:xfrm>
            <a:off x="2809991" y="7652277"/>
            <a:ext cx="46944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настройки*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BC8E9F5-2EBB-457D-B60C-FD2BA13CBABB}"/>
              </a:ext>
            </a:extLst>
          </p:cNvPr>
          <p:cNvSpPr txBox="1"/>
          <p:nvPr/>
        </p:nvSpPr>
        <p:spPr>
          <a:xfrm>
            <a:off x="8383412" y="5901318"/>
            <a:ext cx="1807011" cy="392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DMP</a:t>
            </a:r>
            <a:endParaRPr lang="ru-RU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Рисунок 2" descr="Круги со стрелками">
            <a:extLst>
              <a:ext uri="{FF2B5EF4-FFF2-40B4-BE49-F238E27FC236}">
                <a16:creationId xmlns:a16="http://schemas.microsoft.com/office/drawing/2014/main" id="{A913AC50-B246-4BCA-AE5F-AE3639DDC1D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25107" y="5176592"/>
            <a:ext cx="1923623" cy="1923623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0A0D49CD-5F43-4E34-993E-C278D7A8491B}"/>
              </a:ext>
            </a:extLst>
          </p:cNvPr>
          <p:cNvGrpSpPr/>
          <p:nvPr/>
        </p:nvGrpSpPr>
        <p:grpSpPr>
          <a:xfrm>
            <a:off x="7805442" y="8607145"/>
            <a:ext cx="1155940" cy="1071050"/>
            <a:chOff x="7805442" y="8607145"/>
            <a:chExt cx="1155940" cy="107105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B1B4CC1-2B7C-4269-BD18-C68CC1955B02}"/>
                </a:ext>
              </a:extLst>
            </p:cNvPr>
            <p:cNvSpPr txBox="1"/>
            <p:nvPr/>
          </p:nvSpPr>
          <p:spPr>
            <a:xfrm>
              <a:off x="7840479" y="8988781"/>
              <a:ext cx="108586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>
                      <a:lumMod val="50000"/>
                    </a:schemeClr>
                  </a:solidFill>
                </a:rPr>
                <a:t>DMP</a:t>
              </a:r>
              <a:endParaRPr lang="ru-RU" sz="1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18" name="Рисунок 17" descr="Круги со стрелками">
              <a:extLst>
                <a:ext uri="{FF2B5EF4-FFF2-40B4-BE49-F238E27FC236}">
                  <a16:creationId xmlns:a16="http://schemas.microsoft.com/office/drawing/2014/main" id="{91A6A2D9-7417-46F9-B0C9-4E1D1BCCB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05442" y="8607145"/>
              <a:ext cx="1155940" cy="1071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2387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262100" y="221913"/>
            <a:ext cx="5386211" cy="576633"/>
          </a:xfrm>
          <a:prstGeom prst="rect">
            <a:avLst/>
          </a:prstGeom>
          <a:solidFill>
            <a:srgbClr val="FFBABF"/>
          </a:solidFill>
        </p:spPr>
        <p:txBody>
          <a:bodyPr wrap="square">
            <a:spAutoFit/>
          </a:bodyPr>
          <a:lstStyle/>
          <a:p>
            <a:pPr algn="ctr"/>
            <a:r>
              <a:rPr lang="ru-RU" sz="3147" b="1" dirty="0">
                <a:solidFill>
                  <a:schemeClr val="bg1"/>
                </a:solidFill>
              </a:rPr>
              <a:t>ЗАПУСК ПРОЕКТА</a:t>
            </a:r>
          </a:p>
        </p:txBody>
      </p:sp>
      <p:sp>
        <p:nvSpPr>
          <p:cNvPr id="7" name="Заголовок 5">
            <a:extLst>
              <a:ext uri="{FF2B5EF4-FFF2-40B4-BE49-F238E27FC236}">
                <a16:creationId xmlns:a16="http://schemas.microsoft.com/office/drawing/2014/main" id="{FA9DE4C1-5B26-44C6-BDC3-96C313570BD8}"/>
              </a:ext>
            </a:extLst>
          </p:cNvPr>
          <p:cNvSpPr txBox="1">
            <a:spLocks/>
          </p:cNvSpPr>
          <p:nvPr/>
        </p:nvSpPr>
        <p:spPr>
          <a:xfrm>
            <a:off x="1188097" y="999720"/>
            <a:ext cx="16835354" cy="663304"/>
          </a:xfrm>
          <a:prstGeom prst="rect">
            <a:avLst/>
          </a:prstGeom>
        </p:spPr>
        <p:txBody>
          <a:bodyPr vert="horz" lIns="0" tIns="0" rIns="0" bIns="0" rtlCol="0" anchor="b">
            <a:normAutofit fontScale="60000" lnSpcReduction="20000"/>
          </a:bodyPr>
          <a:lstStyle>
            <a:lvl1pPr algn="ctr" defTabSz="77697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9670" b="1" i="0" kern="800" cap="all" spc="108" baseline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ru-RU" sz="9600" dirty="0"/>
              <a:t>ШАГ 2 – ЗАВЕДЕНИЕ</a:t>
            </a:r>
            <a:endParaRPr lang="ru-RU" dirty="0"/>
          </a:p>
        </p:txBody>
      </p:sp>
      <p:sp>
        <p:nvSpPr>
          <p:cNvPr id="56" name="Заголовок 2">
            <a:extLst>
              <a:ext uri="{FF2B5EF4-FFF2-40B4-BE49-F238E27FC236}">
                <a16:creationId xmlns:a16="http://schemas.microsoft.com/office/drawing/2014/main" id="{49B6FB1B-FB5A-40C6-87CC-09D4D8B47C55}"/>
              </a:ext>
            </a:extLst>
          </p:cNvPr>
          <p:cNvSpPr txBox="1">
            <a:spLocks/>
          </p:cNvSpPr>
          <p:nvPr/>
        </p:nvSpPr>
        <p:spPr>
          <a:xfrm>
            <a:off x="76600" y="12659152"/>
            <a:ext cx="19058348" cy="1617173"/>
          </a:xfrm>
          <a:prstGeom prst="rect">
            <a:avLst/>
          </a:prstGeom>
        </p:spPr>
        <p:txBody>
          <a:bodyPr vert="horz" lIns="147362" tIns="73681" rIns="147362" bIns="73681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/>
              <a:t>1. Автоматическое формирование документа, который можно адаптировать под конкретного клиента</a:t>
            </a:r>
          </a:p>
          <a:p>
            <a:r>
              <a:rPr lang="ru-RU" sz="2000" dirty="0"/>
              <a:t>2. В ПРОГРАММУ ЗАГРУЖАЕТСЯ ССЫЛКА НА ПОСАДОЧНУЮ </a:t>
            </a:r>
          </a:p>
          <a:p>
            <a:r>
              <a:rPr lang="ru-RU" sz="2000" dirty="0"/>
              <a:t>-</a:t>
            </a:r>
            <a:r>
              <a:rPr lang="en-US" sz="2000" dirty="0"/>
              <a:t>&gt; </a:t>
            </a:r>
            <a:r>
              <a:rPr lang="ru-RU" sz="2000" dirty="0"/>
              <a:t>ССЫЛКА АВТОМАТИЧЕСКИ ОБШИВАЕТСЯ </a:t>
            </a:r>
            <a:r>
              <a:rPr lang="en-US" sz="2000" dirty="0"/>
              <a:t>GOOGLE ANALYYICS</a:t>
            </a:r>
            <a:r>
              <a:rPr lang="ru-RU" sz="2000" dirty="0"/>
              <a:t> ИЛИ ИНОЙ СИСТЕМОЙ ДЛЯ КАЖДОЙ ПОЗИЦИИ</a:t>
            </a:r>
          </a:p>
          <a:p>
            <a:r>
              <a:rPr lang="en-US" sz="2000" dirty="0"/>
              <a:t>-&gt; </a:t>
            </a:r>
            <a:r>
              <a:rPr lang="ru-RU" sz="2000" dirty="0"/>
              <a:t>ФОРМИРУЕТСЯ ЕДИНАЯ ТАБЛИЦА С ПЕРСОНАЛЬНЫМИ ССЫЛКАМИ ДЛЯ КАЖДОЙ ПОЗИЦИИ </a:t>
            </a:r>
          </a:p>
          <a:p>
            <a:r>
              <a:rPr lang="en-US" sz="2000" dirty="0"/>
              <a:t>-&gt; </a:t>
            </a:r>
            <a:r>
              <a:rPr lang="ru-RU" sz="2000" dirty="0"/>
              <a:t>система трекинга: </a:t>
            </a:r>
            <a:r>
              <a:rPr lang="en-US" sz="2000" dirty="0"/>
              <a:t>DCM </a:t>
            </a:r>
            <a:r>
              <a:rPr lang="ru-RU" sz="2000" dirty="0"/>
              <a:t>(стадия в проработке)</a:t>
            </a:r>
          </a:p>
          <a:p>
            <a:r>
              <a:rPr lang="ru-RU" sz="2000" dirty="0"/>
              <a:t>3. Напоминание системы: по материалам, потом ЗАГРУЖАЕМ В ПРОГРАММУ (по каждому сайту и формату собраны общие исторические реко, обязательно учитываем в момент получения материалов, каждый шаг обдуманный, делимся экспертизой)</a:t>
            </a:r>
          </a:p>
          <a:p>
            <a:r>
              <a:rPr lang="ru-RU" sz="2000" dirty="0"/>
              <a:t>4. Напоминание системы: СОБИРАЕМ РЕКО ПО САЙТУ - проверка счетчиков на сайте GA, скорость загрузки, адаптивность к мобильным, форма заявки</a:t>
            </a:r>
          </a:p>
          <a:p>
            <a:r>
              <a:rPr lang="ru-RU" sz="2000" dirty="0"/>
              <a:t>5. Напоминание системы: СОБИРАЕМ общую информацию: снятие статистики по брендовым запросам, замер подписчиков в соц.сетях, на канале в YT, кол-во пользователей на сайте до запуска РК, мини анализ отзывов и самого сайта - для рекомендаций при запуске размещения и анализа 360 при отчетности  </a:t>
            </a:r>
          </a:p>
          <a:p>
            <a:r>
              <a:rPr lang="ru-RU" sz="2000" dirty="0"/>
              <a:t>6. ПЕРЕД СТАРТОМ РК ПРОГРАММА АТОМАТИЧЕСКИ ОТПРАВЛЯЕТ ПИСЬМО НА ПЛОЩАДКУ О СТАРТЕ, ЕСЛИ МАТЕРИАЛЫ ПРИНЯТЫ  БОЛЕЕ ЧЕМ ЗА 3-5 ДНЕЙ ДО СТАРТА</a:t>
            </a:r>
          </a:p>
          <a:p>
            <a:r>
              <a:rPr lang="ru-RU" sz="2000" dirty="0"/>
              <a:t>7. АВТОМАТИЧЕСКИ СНИМАТСЯ СКРИНШОТ И ПРОВЕРЯЕТСЯ система трекинга: </a:t>
            </a:r>
            <a:r>
              <a:rPr lang="en-US" sz="2000" dirty="0"/>
              <a:t>DCM</a:t>
            </a:r>
            <a:r>
              <a:rPr lang="ru-RU" sz="2000" dirty="0"/>
              <a:t>, </a:t>
            </a:r>
            <a:r>
              <a:rPr lang="en-US" sz="2000" dirty="0"/>
              <a:t>ADRIVER</a:t>
            </a:r>
            <a:endParaRPr lang="ru-RU" sz="2000" dirty="0"/>
          </a:p>
          <a:p>
            <a:endParaRPr lang="ru-RU" sz="2000" dirty="0"/>
          </a:p>
          <a:p>
            <a:endParaRPr lang="ru-RU" sz="2000" dirty="0"/>
          </a:p>
          <a:p>
            <a:pPr marL="457200" indent="-457200">
              <a:buAutoNum type="arabicPeriod"/>
            </a:pPr>
            <a:endParaRPr lang="ru-RU" sz="2000" dirty="0"/>
          </a:p>
          <a:p>
            <a:endParaRPr lang="ru-RU" sz="2000" dirty="0"/>
          </a:p>
          <a:p>
            <a:endParaRPr lang="ru-RU" sz="2417" dirty="0"/>
          </a:p>
        </p:txBody>
      </p:sp>
      <p:graphicFrame>
        <p:nvGraphicFramePr>
          <p:cNvPr id="14" name="Схема 13">
            <a:extLst>
              <a:ext uri="{FF2B5EF4-FFF2-40B4-BE49-F238E27FC236}">
                <a16:creationId xmlns:a16="http://schemas.microsoft.com/office/drawing/2014/main" id="{6002446A-F704-4C0E-A79C-5A0530F121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3526114"/>
              </p:ext>
            </p:extLst>
          </p:nvPr>
        </p:nvGraphicFramePr>
        <p:xfrm>
          <a:off x="1471348" y="2286000"/>
          <a:ext cx="17261152" cy="74540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48DF7781-EC08-47B7-A0F4-5513D969E6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8757" y="2732956"/>
            <a:ext cx="725336" cy="725336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CE984BBF-87BF-44EF-A234-9BEB4416BBA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5579" y="5610784"/>
            <a:ext cx="711692" cy="711692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A4EB8B3-AF2E-4E0F-9473-2A6FD92066B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8757" y="7142395"/>
            <a:ext cx="711692" cy="711692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AFC1FD8D-05D8-44DA-86E5-F72C3FC63A2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8757" y="8674006"/>
            <a:ext cx="711692" cy="711692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241682B-8F26-4AFD-A811-19D26322FD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8757" y="4188100"/>
            <a:ext cx="725336" cy="725336"/>
          </a:xfrm>
          <a:prstGeom prst="rect">
            <a:avLst/>
          </a:prstGeom>
        </p:spPr>
      </p:pic>
      <p:pic>
        <p:nvPicPr>
          <p:cNvPr id="3" name="Рисунок 2" descr="Информация">
            <a:extLst>
              <a:ext uri="{FF2B5EF4-FFF2-40B4-BE49-F238E27FC236}">
                <a16:creationId xmlns:a16="http://schemas.microsoft.com/office/drawing/2014/main" id="{A0BA7EA3-F43D-40DF-9076-24709AD2ED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27425" y="5526087"/>
            <a:ext cx="900000" cy="900000"/>
          </a:xfrm>
          <a:prstGeom prst="rect">
            <a:avLst/>
          </a:prstGeom>
        </p:spPr>
      </p:pic>
      <p:pic>
        <p:nvPicPr>
          <p:cNvPr id="13" name="Рисунок 12" descr="Информация">
            <a:extLst>
              <a:ext uri="{FF2B5EF4-FFF2-40B4-BE49-F238E27FC236}">
                <a16:creationId xmlns:a16="http://schemas.microsoft.com/office/drawing/2014/main" id="{04BB6263-2993-4F38-AC17-FA28D441E3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27425" y="7049063"/>
            <a:ext cx="900000" cy="900000"/>
          </a:xfrm>
          <a:prstGeom prst="rect">
            <a:avLst/>
          </a:prstGeom>
        </p:spPr>
      </p:pic>
      <p:pic>
        <p:nvPicPr>
          <p:cNvPr id="15" name="Рисунок 14" descr="Информация">
            <a:extLst>
              <a:ext uri="{FF2B5EF4-FFF2-40B4-BE49-F238E27FC236}">
                <a16:creationId xmlns:a16="http://schemas.microsoft.com/office/drawing/2014/main" id="{17C7E574-3B23-4C5D-ABC1-F107C32B4D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27425" y="8579852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866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8dSIKuKMgNFBbmmuV1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4KtYC0CQHdlqyK2NtJfw"/>
</p:tagLst>
</file>

<file path=ppt/theme/theme1.xml><?xml version="1.0" encoding="utf-8"?>
<a:theme xmlns:a="http://schemas.openxmlformats.org/drawingml/2006/main" name="Carat Portrait Template 2016">
  <a:themeElements>
    <a:clrScheme name="DentsuX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A1237"/>
      </a:accent1>
      <a:accent2>
        <a:srgbClr val="E50013"/>
      </a:accent2>
      <a:accent3>
        <a:srgbClr val="D5CEAF"/>
      </a:accent3>
      <a:accent4>
        <a:srgbClr val="CAA034"/>
      </a:accent4>
      <a:accent5>
        <a:srgbClr val="FF5179"/>
      </a:accent5>
      <a:accent6>
        <a:srgbClr val="FFD332"/>
      </a:accent6>
      <a:hlink>
        <a:srgbClr val="0563C1"/>
      </a:hlink>
      <a:folHlink>
        <a:srgbClr val="954F72"/>
      </a:folHlink>
    </a:clrScheme>
    <a:fontScheme name="Другая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50000"/>
            <a:lumOff val="50000"/>
            <a:alpha val="41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arat Portrait Template 2016">
  <a:themeElements>
    <a:clrScheme name="DentsuX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A1237"/>
      </a:accent1>
      <a:accent2>
        <a:srgbClr val="E50013"/>
      </a:accent2>
      <a:accent3>
        <a:srgbClr val="D5CEAF"/>
      </a:accent3>
      <a:accent4>
        <a:srgbClr val="CAA034"/>
      </a:accent4>
      <a:accent5>
        <a:srgbClr val="FF5179"/>
      </a:accent5>
      <a:accent6>
        <a:srgbClr val="FFD332"/>
      </a:accent6>
      <a:hlink>
        <a:srgbClr val="0563C1"/>
      </a:hlink>
      <a:folHlink>
        <a:srgbClr val="954F72"/>
      </a:folHlink>
    </a:clrScheme>
    <a:fontScheme name="CARAT">
      <a:majorFont>
        <a:latin typeface="Geometr415 Blk BT"/>
        <a:ea typeface=""/>
        <a:cs typeface=""/>
      </a:majorFont>
      <a:minorFont>
        <a:latin typeface="Geometr415 Lt BT Lite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277</TotalTime>
  <Words>1954</Words>
  <Application>Microsoft Office PowerPoint</Application>
  <PresentationFormat>Произвольный</PresentationFormat>
  <Paragraphs>315</Paragraphs>
  <Slides>2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2" baseType="lpstr">
      <vt:lpstr>Arial</vt:lpstr>
      <vt:lpstr>Geometr415 Lt BT</vt:lpstr>
      <vt:lpstr>Geometr415 Lt BT Lite</vt:lpstr>
      <vt:lpstr>Pragmatica Light</vt:lpstr>
      <vt:lpstr>Segoe UI</vt:lpstr>
      <vt:lpstr>Wingdings</vt:lpstr>
      <vt:lpstr>Carat Portrait Template 2016</vt:lpstr>
      <vt:lpstr>1_Carat Portrait Template 2016</vt:lpstr>
      <vt:lpstr>Слайд think-cell</vt:lpstr>
      <vt:lpstr>Презентация PowerPoint</vt:lpstr>
      <vt:lpstr>Презентация PowerPoint</vt:lpstr>
      <vt:lpstr>ДЕЛЛЕГИРУЕМ РУТИННЫЕ ПРОЦЕССЫ -&gt; программе DMP</vt:lpstr>
      <vt:lpstr> </vt:lpstr>
      <vt:lpstr> </vt:lpstr>
      <vt:lpstr> </vt:lpstr>
      <vt:lpstr>ДЕЛЛЕГИРУЕМ РУТИННЫЕ ПРОЦЕССЫ -&gt; DMP</vt:lpstr>
      <vt:lpstr>Презентация PowerPoint</vt:lpstr>
      <vt:lpstr>Презентация PowerPoint</vt:lpstr>
      <vt:lpstr>ДЕЛЛЕГИРУЕМ РУТИННЫЕ ПРОЦЕССЫ -&gt; DMP</vt:lpstr>
      <vt:lpstr>Презентация PowerPoint</vt:lpstr>
      <vt:lpstr>Презентация PowerPoint</vt:lpstr>
      <vt:lpstr>ВИЗУАЛИЗАЦ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Aegis Med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 to the client goes here</dc:title>
  <dc:creator>Andrew Hodgson</dc:creator>
  <cp:lastModifiedBy>Воеводина Евгения Владимировна</cp:lastModifiedBy>
  <cp:revision>2566</cp:revision>
  <cp:lastPrinted>2019-10-23T14:16:34Z</cp:lastPrinted>
  <dcterms:created xsi:type="dcterms:W3CDTF">2015-08-26T15:32:52Z</dcterms:created>
  <dcterms:modified xsi:type="dcterms:W3CDTF">2021-05-20T14:49:39Z</dcterms:modified>
</cp:coreProperties>
</file>